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tiff" ContentType="image/tiff"/>
  <Default Extension="jpg" ContentType="image/jpeg"/>
  <Default Extension="wmv" ContentType="video/x-ms-wmv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6.xml" ContentType="application/vnd.openxmlformats-officedocument.theme+xml"/>
  <Override PartName="/ppt/slideLayouts/slideLayout25.xml" ContentType="application/vnd.openxmlformats-officedocument.presentationml.slideLayout+xml"/>
  <Override PartName="/ppt/theme/theme7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5.xml" ContentType="application/vnd.openxmlformats-officedocument.presentationml.slideLayout+xml"/>
  <Override PartName="/ppt/theme/theme9.xml" ContentType="application/vnd.openxmlformats-officedocument.theme+xml"/>
  <Override PartName="/ppt/slideLayouts/slideLayout36.xml" ContentType="application/vnd.openxmlformats-officedocument.presentationml.slideLayout+xml"/>
  <Override PartName="/ppt/theme/theme10.xml" ContentType="application/vnd.openxmlformats-officedocument.theme+xml"/>
  <Override PartName="/ppt/slideLayouts/slideLayout37.xml" ContentType="application/vnd.openxmlformats-officedocument.presentationml.slideLayout+xml"/>
  <Override PartName="/ppt/theme/theme11.xml" ContentType="application/vnd.openxmlformats-officedocument.theme+xml"/>
  <Override PartName="/ppt/slideLayouts/slideLayout38.xml" ContentType="application/vnd.openxmlformats-officedocument.presentationml.slideLayout+xml"/>
  <Override PartName="/ppt/theme/theme12.xml" ContentType="application/vnd.openxmlformats-officedocument.theme+xml"/>
  <Override PartName="/ppt/slideLayouts/slideLayout39.xml" ContentType="application/vnd.openxmlformats-officedocument.presentationml.slideLayout+xml"/>
  <Override PartName="/ppt/theme/theme13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14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5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16.xml" ContentType="application/vnd.openxmlformats-officedocument.theme+xml"/>
  <Override PartName="/ppt/theme/theme17.xml" ContentType="application/vnd.openxmlformats-officedocument.theme+xml"/>
  <Override PartName="/ppt/theme/theme1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1" r:id="rId2"/>
    <p:sldMasterId id="2147483710" r:id="rId3"/>
    <p:sldMasterId id="2147483712" r:id="rId4"/>
    <p:sldMasterId id="2147483714" r:id="rId5"/>
    <p:sldMasterId id="2147483716" r:id="rId6"/>
    <p:sldMasterId id="2147483718" r:id="rId7"/>
    <p:sldMasterId id="2147483720" r:id="rId8"/>
    <p:sldMasterId id="2147483737" r:id="rId9"/>
    <p:sldMasterId id="2147483739" r:id="rId10"/>
    <p:sldMasterId id="2147483741" r:id="rId11"/>
    <p:sldMasterId id="2147483747" r:id="rId12"/>
    <p:sldMasterId id="2147483750" r:id="rId13"/>
    <p:sldMasterId id="2147483790" r:id="rId14"/>
    <p:sldMasterId id="2147483799" r:id="rId15"/>
    <p:sldMasterId id="2147483807" r:id="rId16"/>
  </p:sldMasterIdLst>
  <p:notesMasterIdLst>
    <p:notesMasterId r:id="rId54"/>
  </p:notesMasterIdLst>
  <p:handoutMasterIdLst>
    <p:handoutMasterId r:id="rId55"/>
  </p:handoutMasterIdLst>
  <p:sldIdLst>
    <p:sldId id="1041" r:id="rId17"/>
    <p:sldId id="1054" r:id="rId18"/>
    <p:sldId id="1040" r:id="rId19"/>
    <p:sldId id="577" r:id="rId20"/>
    <p:sldId id="1029" r:id="rId21"/>
    <p:sldId id="557" r:id="rId22"/>
    <p:sldId id="594" r:id="rId23"/>
    <p:sldId id="1028" r:id="rId24"/>
    <p:sldId id="1039" r:id="rId25"/>
    <p:sldId id="593" r:id="rId26"/>
    <p:sldId id="1037" r:id="rId27"/>
    <p:sldId id="1043" r:id="rId28"/>
    <p:sldId id="1044" r:id="rId29"/>
    <p:sldId id="1045" r:id="rId30"/>
    <p:sldId id="1046" r:id="rId31"/>
    <p:sldId id="1047" r:id="rId32"/>
    <p:sldId id="1048" r:id="rId33"/>
    <p:sldId id="1050" r:id="rId34"/>
    <p:sldId id="1049" r:id="rId35"/>
    <p:sldId id="1051" r:id="rId36"/>
    <p:sldId id="1042" r:id="rId37"/>
    <p:sldId id="1033" r:id="rId38"/>
    <p:sldId id="1034" r:id="rId39"/>
    <p:sldId id="1035" r:id="rId40"/>
    <p:sldId id="1024" r:id="rId41"/>
    <p:sldId id="1027" r:id="rId42"/>
    <p:sldId id="384" r:id="rId43"/>
    <p:sldId id="386" r:id="rId44"/>
    <p:sldId id="1018" r:id="rId45"/>
    <p:sldId id="389" r:id="rId46"/>
    <p:sldId id="387" r:id="rId47"/>
    <p:sldId id="1036" r:id="rId48"/>
    <p:sldId id="1026" r:id="rId49"/>
    <p:sldId id="1005" r:id="rId50"/>
    <p:sldId id="1015" r:id="rId51"/>
    <p:sldId id="556" r:id="rId52"/>
    <p:sldId id="1038" r:id="rId53"/>
  </p:sldIdLst>
  <p:sldSz cx="9144000" cy="5143500" type="screen16x9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0ECDBD7-4E1F-496D-B6F2-54A702A40D24}">
          <p14:sldIdLst>
            <p14:sldId id="1041"/>
            <p14:sldId id="1054"/>
            <p14:sldId id="1040"/>
            <p14:sldId id="577"/>
            <p14:sldId id="1029"/>
            <p14:sldId id="557"/>
            <p14:sldId id="594"/>
            <p14:sldId id="1028"/>
            <p14:sldId id="1039"/>
            <p14:sldId id="593"/>
            <p14:sldId id="1037"/>
            <p14:sldId id="1043"/>
            <p14:sldId id="1044"/>
            <p14:sldId id="1045"/>
            <p14:sldId id="1046"/>
            <p14:sldId id="1047"/>
            <p14:sldId id="1048"/>
            <p14:sldId id="1050"/>
            <p14:sldId id="1049"/>
            <p14:sldId id="1051"/>
            <p14:sldId id="1042"/>
            <p14:sldId id="1033"/>
            <p14:sldId id="1034"/>
            <p14:sldId id="1035"/>
            <p14:sldId id="1024"/>
            <p14:sldId id="1027"/>
            <p14:sldId id="384"/>
            <p14:sldId id="386"/>
            <p14:sldId id="1018"/>
            <p14:sldId id="389"/>
            <p14:sldId id="387"/>
            <p14:sldId id="1036"/>
            <p14:sldId id="1026"/>
            <p14:sldId id="1005"/>
            <p14:sldId id="1015"/>
            <p14:sldId id="556"/>
            <p14:sldId id="103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2" userDrawn="1">
          <p15:clr>
            <a:srgbClr val="A4A3A4"/>
          </p15:clr>
        </p15:guide>
        <p15:guide id="2" pos="2138" userDrawn="1">
          <p15:clr>
            <a:srgbClr val="A4A3A4"/>
          </p15:clr>
        </p15:guide>
        <p15:guide id="3" orient="horz" pos="3126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m Shah" initials="SS" lastIdx="18" clrIdx="0">
    <p:extLst/>
  </p:cmAuthor>
  <p:cmAuthor id="2" name="Fulton, Nicola" initials="FN" lastIdx="22" clrIdx="1"/>
  <p:cmAuthor id="3" name="Shapland, David" initials="DS" lastIdx="10" clrIdx="2"/>
  <p:cmAuthor id="4" name="." initials="." lastIdx="7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E100"/>
    <a:srgbClr val="005EB8"/>
    <a:srgbClr val="FFB81C"/>
    <a:srgbClr val="2072C1"/>
    <a:srgbClr val="20725D"/>
    <a:srgbClr val="AE2573"/>
    <a:srgbClr val="2F2573"/>
    <a:srgbClr val="009639"/>
    <a:srgbClr val="FFFFFF"/>
    <a:srgbClr val="C02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" v="541" dt="2018-06-11T10:00:30.990"/>
    <p1510:client id="{7FA3978E-42C9-464C-8EDC-C3FD1B69A425}" v="3" dt="2018-06-11T10:11:57.955"/>
    <p1510:client id="{6F5048BA-3093-440C-A478-325AAA586EB0}" v="21" dt="2018-06-11T11:19:30.46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286" autoAdjust="0"/>
    <p:restoredTop sz="55594" autoAdjust="0"/>
  </p:normalViewPr>
  <p:slideViewPr>
    <p:cSldViewPr>
      <p:cViewPr varScale="1">
        <p:scale>
          <a:sx n="54" d="100"/>
          <a:sy n="54" d="100"/>
        </p:scale>
        <p:origin x="1920" y="7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62" d="100"/>
          <a:sy n="62" d="100"/>
        </p:scale>
        <p:origin x="-2946" y="-90"/>
      </p:cViewPr>
      <p:guideLst>
        <p:guide orient="horz" pos="3122"/>
        <p:guide pos="2138"/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9" Type="http://schemas.openxmlformats.org/officeDocument/2006/relationships/slide" Target="slides/slide23.xml"/><Relationship Id="rId21" Type="http://schemas.openxmlformats.org/officeDocument/2006/relationships/slide" Target="slides/slide5.xml"/><Relationship Id="rId34" Type="http://schemas.openxmlformats.org/officeDocument/2006/relationships/slide" Target="slides/slide18.xml"/><Relationship Id="rId42" Type="http://schemas.openxmlformats.org/officeDocument/2006/relationships/slide" Target="slides/slide26.xml"/><Relationship Id="rId47" Type="http://schemas.openxmlformats.org/officeDocument/2006/relationships/slide" Target="slides/slide31.xml"/><Relationship Id="rId50" Type="http://schemas.openxmlformats.org/officeDocument/2006/relationships/slide" Target="slides/slide34.xml"/><Relationship Id="rId55" Type="http://schemas.openxmlformats.org/officeDocument/2006/relationships/handoutMaster" Target="handoutMasters/handoutMaster1.xml"/><Relationship Id="rId63" Type="http://schemas.microsoft.com/office/2015/10/relationships/revisionInfo" Target="revisionInfo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4.xml"/><Relationship Id="rId29" Type="http://schemas.openxmlformats.org/officeDocument/2006/relationships/slide" Target="slides/slide13.xml"/><Relationship Id="rId41" Type="http://schemas.openxmlformats.org/officeDocument/2006/relationships/slide" Target="slides/slide25.xml"/><Relationship Id="rId54" Type="http://schemas.openxmlformats.org/officeDocument/2006/relationships/notesMaster" Target="notesMasters/notesMaster1.xml"/><Relationship Id="rId62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8.xml"/><Relationship Id="rId32" Type="http://schemas.openxmlformats.org/officeDocument/2006/relationships/slide" Target="slides/slide16.xml"/><Relationship Id="rId37" Type="http://schemas.openxmlformats.org/officeDocument/2006/relationships/slide" Target="slides/slide21.xml"/><Relationship Id="rId40" Type="http://schemas.openxmlformats.org/officeDocument/2006/relationships/slide" Target="slides/slide24.xml"/><Relationship Id="rId45" Type="http://schemas.openxmlformats.org/officeDocument/2006/relationships/slide" Target="slides/slide29.xml"/><Relationship Id="rId53" Type="http://schemas.openxmlformats.org/officeDocument/2006/relationships/slide" Target="slides/slide37.xml"/><Relationship Id="rId58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36" Type="http://schemas.openxmlformats.org/officeDocument/2006/relationships/slide" Target="slides/slide20.xml"/><Relationship Id="rId49" Type="http://schemas.openxmlformats.org/officeDocument/2006/relationships/slide" Target="slides/slide33.xml"/><Relationship Id="rId57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3.xml"/><Relationship Id="rId31" Type="http://schemas.openxmlformats.org/officeDocument/2006/relationships/slide" Target="slides/slide15.xml"/><Relationship Id="rId44" Type="http://schemas.openxmlformats.org/officeDocument/2006/relationships/slide" Target="slides/slide28.xml"/><Relationship Id="rId52" Type="http://schemas.openxmlformats.org/officeDocument/2006/relationships/slide" Target="slides/slide36.xml"/><Relationship Id="rId60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slide" Target="slides/slide14.xml"/><Relationship Id="rId35" Type="http://schemas.openxmlformats.org/officeDocument/2006/relationships/slide" Target="slides/slide19.xml"/><Relationship Id="rId43" Type="http://schemas.openxmlformats.org/officeDocument/2006/relationships/slide" Target="slides/slide27.xml"/><Relationship Id="rId48" Type="http://schemas.openxmlformats.org/officeDocument/2006/relationships/slide" Target="slides/slide32.xml"/><Relationship Id="rId56" Type="http://schemas.openxmlformats.org/officeDocument/2006/relationships/commentAuthors" Target="commentAuthor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5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slide" Target="slides/slide17.xml"/><Relationship Id="rId38" Type="http://schemas.openxmlformats.org/officeDocument/2006/relationships/slide" Target="slides/slide22.xml"/><Relationship Id="rId46" Type="http://schemas.openxmlformats.org/officeDocument/2006/relationships/slide" Target="slides/slide30.xml"/><Relationship Id="rId5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iel Spiers" userId="S::dasp1@hscic.gov.uk::a9c74899-53bb-4cb9-b8b6-43457e809e98" providerId="AD" clId="Web-{AB86BED2-BCD4-4552-BA68-65665AF6F58A}"/>
    <pc:docChg chg="delSld sldOrd modSection">
      <pc:chgData name="Daniel Spiers" userId="S::dasp1@hscic.gov.uk::a9c74899-53bb-4cb9-b8b6-43457e809e98" providerId="AD" clId="Web-{AB86BED2-BCD4-4552-BA68-65665AF6F58A}" dt="2018-06-11T11:17:34.243" v="1"/>
      <pc:docMkLst>
        <pc:docMk/>
      </pc:docMkLst>
      <pc:sldChg chg="del">
        <pc:chgData name="Daniel Spiers" userId="S::dasp1@hscic.gov.uk::a9c74899-53bb-4cb9-b8b6-43457e809e98" providerId="AD" clId="Web-{AB86BED2-BCD4-4552-BA68-65665AF6F58A}" dt="2018-06-11T11:17:30.915" v="0"/>
        <pc:sldMkLst>
          <pc:docMk/>
          <pc:sldMk cId="52612294" sldId="370"/>
        </pc:sldMkLst>
      </pc:sldChg>
      <pc:sldChg chg="ord">
        <pc:chgData name="Daniel Spiers" userId="S::dasp1@hscic.gov.uk::a9c74899-53bb-4cb9-b8b6-43457e809e98" providerId="AD" clId="Web-{AB86BED2-BCD4-4552-BA68-65665AF6F58A}" dt="2018-06-11T11:17:34.243" v="1"/>
        <pc:sldMkLst>
          <pc:docMk/>
          <pc:sldMk cId="3749277162" sldId="1027"/>
        </pc:sldMkLst>
      </pc:sldChg>
    </pc:docChg>
  </pc:docChgLst>
  <pc:docChgLst>
    <pc:chgData name="Daniel Spiers" userId="S::dasp1@hscic.gov.uk::a9c74899-53bb-4cb9-b8b6-43457e809e98" providerId="AD" clId="Web-{456FCFA9-AACE-42D1-B201-94580F7FB53E}"/>
    <pc:docChg chg="modSld">
      <pc:chgData name="Daniel Spiers" userId="S::dasp1@hscic.gov.uk::a9c74899-53bb-4cb9-b8b6-43457e809e98" providerId="AD" clId="Web-{456FCFA9-AACE-42D1-B201-94580F7FB53E}" dt="2018-06-11T11:10:20.472" v="1"/>
      <pc:docMkLst>
        <pc:docMk/>
      </pc:docMkLst>
      <pc:sldChg chg="addSp delSp modSp">
        <pc:chgData name="Daniel Spiers" userId="S::dasp1@hscic.gov.uk::a9c74899-53bb-4cb9-b8b6-43457e809e98" providerId="AD" clId="Web-{456FCFA9-AACE-42D1-B201-94580F7FB53E}" dt="2018-06-11T11:10:20.472" v="1"/>
        <pc:sldMkLst>
          <pc:docMk/>
          <pc:sldMk cId="3761435217" sldId="384"/>
        </pc:sldMkLst>
        <pc:picChg chg="add del mod">
          <ac:chgData name="Daniel Spiers" userId="S::dasp1@hscic.gov.uk::a9c74899-53bb-4cb9-b8b6-43457e809e98" providerId="AD" clId="Web-{456FCFA9-AACE-42D1-B201-94580F7FB53E}" dt="2018-06-11T11:10:20.472" v="1"/>
          <ac:picMkLst>
            <pc:docMk/>
            <pc:sldMk cId="3761435217" sldId="384"/>
            <ac:picMk id="2" creationId="{6114D27D-8991-4848-98B3-8E07EA3E54B3}"/>
          </ac:picMkLst>
        </pc:picChg>
      </pc:sldChg>
    </pc:docChg>
  </pc:docChgLst>
  <pc:docChgLst>
    <pc:chgData name="Daniel Spiers" userId="a9c74899-53bb-4cb9-b8b6-43457e809e98" providerId="ADAL" clId="{6F5048BA-3093-440C-A478-325AAA586EB0}"/>
    <pc:docChg chg="undo custSel addSld delSld modSld sldOrd delMainMaster modSection">
      <pc:chgData name="Daniel Spiers" userId="a9c74899-53bb-4cb9-b8b6-43457e809e98" providerId="ADAL" clId="{6F5048BA-3093-440C-A478-325AAA586EB0}" dt="2018-06-11T11:19:30.467" v="606" actId="27636"/>
      <pc:docMkLst>
        <pc:docMk/>
      </pc:docMkLst>
      <pc:sldChg chg="del">
        <pc:chgData name="Daniel Spiers" userId="a9c74899-53bb-4cb9-b8b6-43457e809e98" providerId="ADAL" clId="{6F5048BA-3093-440C-A478-325AAA586EB0}" dt="2018-06-11T11:15:23.950" v="604" actId="2696"/>
        <pc:sldMkLst>
          <pc:docMk/>
          <pc:sldMk cId="2103449162" sldId="322"/>
        </pc:sldMkLst>
      </pc:sldChg>
      <pc:sldChg chg="add del">
        <pc:chgData name="Daniel Spiers" userId="a9c74899-53bb-4cb9-b8b6-43457e809e98" providerId="ADAL" clId="{6F5048BA-3093-440C-A478-325AAA586EB0}" dt="2018-06-11T11:12:32.178" v="594" actId="2696"/>
        <pc:sldMkLst>
          <pc:docMk/>
          <pc:sldMk cId="766482782" sldId="327"/>
        </pc:sldMkLst>
      </pc:sldChg>
      <pc:sldChg chg="add del setBg">
        <pc:chgData name="Daniel Spiers" userId="a9c74899-53bb-4cb9-b8b6-43457e809e98" providerId="ADAL" clId="{6F5048BA-3093-440C-A478-325AAA586EB0}" dt="2018-06-11T09:36:48.331" v="264" actId="2696"/>
        <pc:sldMkLst>
          <pc:docMk/>
          <pc:sldMk cId="849947175" sldId="351"/>
        </pc:sldMkLst>
      </pc:sldChg>
      <pc:sldChg chg="add del">
        <pc:chgData name="Daniel Spiers" userId="a9c74899-53bb-4cb9-b8b6-43457e809e98" providerId="ADAL" clId="{6F5048BA-3093-440C-A478-325AAA586EB0}" dt="2018-06-11T09:27:20.921" v="72" actId="2696"/>
        <pc:sldMkLst>
          <pc:docMk/>
          <pc:sldMk cId="435962818" sldId="356"/>
        </pc:sldMkLst>
      </pc:sldChg>
      <pc:sldChg chg="add del">
        <pc:chgData name="Daniel Spiers" userId="a9c74899-53bb-4cb9-b8b6-43457e809e98" providerId="ADAL" clId="{6F5048BA-3093-440C-A478-325AAA586EB0}" dt="2018-06-11T09:27:17.209" v="71" actId="2696"/>
        <pc:sldMkLst>
          <pc:docMk/>
          <pc:sldMk cId="3387552269" sldId="364"/>
        </pc:sldMkLst>
      </pc:sldChg>
      <pc:sldChg chg="modSp">
        <pc:chgData name="Daniel Spiers" userId="a9c74899-53bb-4cb9-b8b6-43457e809e98" providerId="ADAL" clId="{6F5048BA-3093-440C-A478-325AAA586EB0}" dt="2018-06-11T11:11:56.734" v="592" actId="27636"/>
        <pc:sldMkLst>
          <pc:docMk/>
          <pc:sldMk cId="52612294" sldId="370"/>
        </pc:sldMkLst>
        <pc:spChg chg="mod">
          <ac:chgData name="Daniel Spiers" userId="a9c74899-53bb-4cb9-b8b6-43457e809e98" providerId="ADAL" clId="{6F5048BA-3093-440C-A478-325AAA586EB0}" dt="2018-06-11T11:11:56.734" v="592" actId="27636"/>
          <ac:spMkLst>
            <pc:docMk/>
            <pc:sldMk cId="52612294" sldId="370"/>
            <ac:spMk id="3" creationId="{051C9961-8192-449B-B9AA-B88FCFB8D933}"/>
          </ac:spMkLst>
        </pc:spChg>
      </pc:sldChg>
      <pc:sldChg chg="modSp add del">
        <pc:chgData name="Daniel Spiers" userId="a9c74899-53bb-4cb9-b8b6-43457e809e98" providerId="ADAL" clId="{6F5048BA-3093-440C-A478-325AAA586EB0}" dt="2018-06-11T09:38:10.759" v="320" actId="27636"/>
        <pc:sldMkLst>
          <pc:docMk/>
          <pc:sldMk cId="3761435217" sldId="384"/>
        </pc:sldMkLst>
        <pc:spChg chg="mod">
          <ac:chgData name="Daniel Spiers" userId="a9c74899-53bb-4cb9-b8b6-43457e809e98" providerId="ADAL" clId="{6F5048BA-3093-440C-A478-325AAA586EB0}" dt="2018-06-11T09:38:10.759" v="320" actId="27636"/>
          <ac:spMkLst>
            <pc:docMk/>
            <pc:sldMk cId="3761435217" sldId="384"/>
            <ac:spMk id="7" creationId="{CE6BB25E-15F5-4E06-97E3-5F6D7BB25168}"/>
          </ac:spMkLst>
        </pc:spChg>
        <pc:picChg chg="mod">
          <ac:chgData name="Daniel Spiers" userId="a9c74899-53bb-4cb9-b8b6-43457e809e98" providerId="ADAL" clId="{6F5048BA-3093-440C-A478-325AAA586EB0}" dt="2018-06-11T09:37:19.010" v="280" actId="1037"/>
          <ac:picMkLst>
            <pc:docMk/>
            <pc:sldMk cId="3761435217" sldId="384"/>
            <ac:picMk id="1026" creationId="{6B77C12F-A7A0-4B7C-9B59-AB5CF54D90B3}"/>
          </ac:picMkLst>
        </pc:picChg>
      </pc:sldChg>
      <pc:sldChg chg="add del">
        <pc:chgData name="Daniel Spiers" userId="a9c74899-53bb-4cb9-b8b6-43457e809e98" providerId="ADAL" clId="{6F5048BA-3093-440C-A478-325AAA586EB0}" dt="2018-06-11T09:27:07.446" v="70" actId="2696"/>
        <pc:sldMkLst>
          <pc:docMk/>
          <pc:sldMk cId="2960866191" sldId="385"/>
        </pc:sldMkLst>
      </pc:sldChg>
      <pc:sldChg chg="modSp add">
        <pc:chgData name="Daniel Spiers" userId="a9c74899-53bb-4cb9-b8b6-43457e809e98" providerId="ADAL" clId="{6F5048BA-3093-440C-A478-325AAA586EB0}" dt="2018-06-11T11:19:30.467" v="606" actId="27636"/>
        <pc:sldMkLst>
          <pc:docMk/>
          <pc:sldMk cId="3171825708" sldId="386"/>
        </pc:sldMkLst>
        <pc:spChg chg="mod">
          <ac:chgData name="Daniel Spiers" userId="a9c74899-53bb-4cb9-b8b6-43457e809e98" providerId="ADAL" clId="{6F5048BA-3093-440C-A478-325AAA586EB0}" dt="2018-06-11T11:19:30.467" v="606" actId="27636"/>
          <ac:spMkLst>
            <pc:docMk/>
            <pc:sldMk cId="3171825708" sldId="386"/>
            <ac:spMk id="3" creationId="{68AEB631-E2BD-4F36-ADB1-87EE33243D96}"/>
          </ac:spMkLst>
        </pc:spChg>
      </pc:sldChg>
      <pc:sldChg chg="add del">
        <pc:chgData name="Daniel Spiers" userId="a9c74899-53bb-4cb9-b8b6-43457e809e98" providerId="ADAL" clId="{6F5048BA-3093-440C-A478-325AAA586EB0}" dt="2018-06-08T14:51:22.545" v="6" actId="2696"/>
        <pc:sldMkLst>
          <pc:docMk/>
          <pc:sldMk cId="1318278403" sldId="387"/>
        </pc:sldMkLst>
      </pc:sldChg>
      <pc:sldChg chg="modSp">
        <pc:chgData name="Daniel Spiers" userId="a9c74899-53bb-4cb9-b8b6-43457e809e98" providerId="ADAL" clId="{6F5048BA-3093-440C-A478-325AAA586EB0}" dt="2018-06-11T11:13:03.347" v="597" actId="27636"/>
        <pc:sldMkLst>
          <pc:docMk/>
          <pc:sldMk cId="3567692135" sldId="389"/>
        </pc:sldMkLst>
        <pc:spChg chg="mod">
          <ac:chgData name="Daniel Spiers" userId="a9c74899-53bb-4cb9-b8b6-43457e809e98" providerId="ADAL" clId="{6F5048BA-3093-440C-A478-325AAA586EB0}" dt="2018-06-11T11:13:03.347" v="597" actId="27636"/>
          <ac:spMkLst>
            <pc:docMk/>
            <pc:sldMk cId="3567692135" sldId="389"/>
            <ac:spMk id="3" creationId="{051C9961-8192-449B-B9AA-B88FCFB8D933}"/>
          </ac:spMkLst>
        </pc:spChg>
      </pc:sldChg>
      <pc:sldChg chg="del">
        <pc:chgData name="Daniel Spiers" userId="a9c74899-53bb-4cb9-b8b6-43457e809e98" providerId="ADAL" clId="{6F5048BA-3093-440C-A478-325AAA586EB0}" dt="2018-06-11T09:26:56.562" v="68" actId="2696"/>
        <pc:sldMkLst>
          <pc:docMk/>
          <pc:sldMk cId="3325685596" sldId="454"/>
        </pc:sldMkLst>
      </pc:sldChg>
      <pc:sldChg chg="modSp">
        <pc:chgData name="Daniel Spiers" userId="a9c74899-53bb-4cb9-b8b6-43457e809e98" providerId="ADAL" clId="{6F5048BA-3093-440C-A478-325AAA586EB0}" dt="2018-06-11T09:32:30.116" v="164" actId="1037"/>
        <pc:sldMkLst>
          <pc:docMk/>
          <pc:sldMk cId="1591891142" sldId="455"/>
        </pc:sldMkLst>
        <pc:spChg chg="mod">
          <ac:chgData name="Daniel Spiers" userId="a9c74899-53bb-4cb9-b8b6-43457e809e98" providerId="ADAL" clId="{6F5048BA-3093-440C-A478-325AAA586EB0}" dt="2018-06-11T09:32:30.116" v="164" actId="1037"/>
          <ac:spMkLst>
            <pc:docMk/>
            <pc:sldMk cId="1591891142" sldId="455"/>
            <ac:spMk id="7" creationId="{39109ED7-6178-3D4A-A151-88EEA1874CD2}"/>
          </ac:spMkLst>
        </pc:spChg>
      </pc:sldChg>
      <pc:sldChg chg="del">
        <pc:chgData name="Daniel Spiers" userId="a9c74899-53bb-4cb9-b8b6-43457e809e98" providerId="ADAL" clId="{6F5048BA-3093-440C-A478-325AAA586EB0}" dt="2018-06-11T09:26:52.245" v="67" actId="2696"/>
        <pc:sldMkLst>
          <pc:docMk/>
          <pc:sldMk cId="2958919555" sldId="455"/>
        </pc:sldMkLst>
      </pc:sldChg>
      <pc:sldChg chg="add del">
        <pc:chgData name="Daniel Spiers" userId="a9c74899-53bb-4cb9-b8b6-43457e809e98" providerId="ADAL" clId="{6F5048BA-3093-440C-A478-325AAA586EB0}" dt="2018-06-11T09:55:59.332" v="584" actId="113"/>
        <pc:sldMkLst>
          <pc:docMk/>
          <pc:sldMk cId="1420977422" sldId="556"/>
        </pc:sldMkLst>
      </pc:sldChg>
      <pc:sldChg chg="add del">
        <pc:chgData name="Daniel Spiers" userId="a9c74899-53bb-4cb9-b8b6-43457e809e98" providerId="ADAL" clId="{6F5048BA-3093-440C-A478-325AAA586EB0}" dt="2018-06-11T09:55:59.332" v="584" actId="113"/>
        <pc:sldMkLst>
          <pc:docMk/>
          <pc:sldMk cId="1076199610" sldId="587"/>
        </pc:sldMkLst>
      </pc:sldChg>
      <pc:sldChg chg="del">
        <pc:chgData name="Daniel Spiers" userId="a9c74899-53bb-4cb9-b8b6-43457e809e98" providerId="ADAL" clId="{6F5048BA-3093-440C-A478-325AAA586EB0}" dt="2018-06-11T09:26:43.338" v="66" actId="2696"/>
        <pc:sldMkLst>
          <pc:docMk/>
          <pc:sldMk cId="797998032" sldId="588"/>
        </pc:sldMkLst>
      </pc:sldChg>
      <pc:sldChg chg="del">
        <pc:chgData name="Daniel Spiers" userId="a9c74899-53bb-4cb9-b8b6-43457e809e98" providerId="ADAL" clId="{6F5048BA-3093-440C-A478-325AAA586EB0}" dt="2018-06-11T09:25:47.071" v="63" actId="2696"/>
        <pc:sldMkLst>
          <pc:docMk/>
          <pc:sldMk cId="1305139472" sldId="589"/>
        </pc:sldMkLst>
      </pc:sldChg>
      <pc:sldChg chg="add del ord">
        <pc:chgData name="Daniel Spiers" userId="a9c74899-53bb-4cb9-b8b6-43457e809e98" providerId="ADAL" clId="{6F5048BA-3093-440C-A478-325AAA586EB0}" dt="2018-06-11T09:57:45.393" v="588" actId="2696"/>
        <pc:sldMkLst>
          <pc:docMk/>
          <pc:sldMk cId="2411017464" sldId="593"/>
        </pc:sldMkLst>
      </pc:sldChg>
      <pc:sldChg chg="del">
        <pc:chgData name="Daniel Spiers" userId="a9c74899-53bb-4cb9-b8b6-43457e809e98" providerId="ADAL" clId="{6F5048BA-3093-440C-A478-325AAA586EB0}" dt="2018-06-11T08:59:04.099" v="61" actId="2696"/>
        <pc:sldMkLst>
          <pc:docMk/>
          <pc:sldMk cId="765622178" sldId="594"/>
        </pc:sldMkLst>
      </pc:sldChg>
      <pc:sldChg chg="del">
        <pc:chgData name="Daniel Spiers" userId="a9c74899-53bb-4cb9-b8b6-43457e809e98" providerId="ADAL" clId="{6F5048BA-3093-440C-A478-325AAA586EB0}" dt="2018-06-11T09:54:59.690" v="577" actId="2696"/>
        <pc:sldMkLst>
          <pc:docMk/>
          <pc:sldMk cId="1583365000" sldId="595"/>
        </pc:sldMkLst>
      </pc:sldChg>
      <pc:sldChg chg="delSp modSp">
        <pc:chgData name="Daniel Spiers" userId="a9c74899-53bb-4cb9-b8b6-43457e809e98" providerId="ADAL" clId="{6F5048BA-3093-440C-A478-325AAA586EB0}" dt="2018-06-11T10:00:30.991" v="591" actId="113"/>
        <pc:sldMkLst>
          <pc:docMk/>
          <pc:sldMk cId="543148751" sldId="604"/>
        </pc:sldMkLst>
        <pc:spChg chg="mod">
          <ac:chgData name="Daniel Spiers" userId="a9c74899-53bb-4cb9-b8b6-43457e809e98" providerId="ADAL" clId="{6F5048BA-3093-440C-A478-325AAA586EB0}" dt="2018-06-11T10:00:30.991" v="591" actId="113"/>
          <ac:spMkLst>
            <pc:docMk/>
            <pc:sldMk cId="543148751" sldId="604"/>
            <ac:spMk id="4" creationId="{00000000-0000-0000-0000-000000000000}"/>
          </ac:spMkLst>
        </pc:spChg>
        <pc:spChg chg="del">
          <ac:chgData name="Daniel Spiers" userId="a9c74899-53bb-4cb9-b8b6-43457e809e98" providerId="ADAL" clId="{6F5048BA-3093-440C-A478-325AAA586EB0}" dt="2018-06-11T08:59:21.415" v="62" actId="478"/>
          <ac:spMkLst>
            <pc:docMk/>
            <pc:sldMk cId="543148751" sldId="604"/>
            <ac:spMk id="6" creationId="{A65FBA43-4120-4B6D-9BF3-09887661CF9F}"/>
          </ac:spMkLst>
        </pc:spChg>
      </pc:sldChg>
      <pc:sldChg chg="del">
        <pc:chgData name="Daniel Spiers" userId="a9c74899-53bb-4cb9-b8b6-43457e809e98" providerId="ADAL" clId="{6F5048BA-3093-440C-A478-325AAA586EB0}" dt="2018-06-11T08:59:04.008" v="59" actId="2696"/>
        <pc:sldMkLst>
          <pc:docMk/>
          <pc:sldMk cId="1206712877" sldId="987"/>
        </pc:sldMkLst>
      </pc:sldChg>
      <pc:sldChg chg="add del">
        <pc:chgData name="Daniel Spiers" userId="a9c74899-53bb-4cb9-b8b6-43457e809e98" providerId="ADAL" clId="{6F5048BA-3093-440C-A478-325AAA586EB0}" dt="2018-06-11T08:59:03.992" v="58" actId="2696"/>
        <pc:sldMkLst>
          <pc:docMk/>
          <pc:sldMk cId="1634875193" sldId="988"/>
        </pc:sldMkLst>
      </pc:sldChg>
      <pc:sldChg chg="del">
        <pc:chgData name="Daniel Spiers" userId="a9c74899-53bb-4cb9-b8b6-43457e809e98" providerId="ADAL" clId="{6F5048BA-3093-440C-A478-325AAA586EB0}" dt="2018-06-11T08:59:04.062" v="60" actId="2696"/>
        <pc:sldMkLst>
          <pc:docMk/>
          <pc:sldMk cId="2557144088" sldId="989"/>
        </pc:sldMkLst>
      </pc:sldChg>
      <pc:sldChg chg="del">
        <pc:chgData name="Daniel Spiers" userId="a9c74899-53bb-4cb9-b8b6-43457e809e98" providerId="ADAL" clId="{6F5048BA-3093-440C-A478-325AAA586EB0}" dt="2018-06-11T09:55:00.241" v="578" actId="2696"/>
        <pc:sldMkLst>
          <pc:docMk/>
          <pc:sldMk cId="1211985864" sldId="1010"/>
        </pc:sldMkLst>
      </pc:sldChg>
      <pc:sldChg chg="del">
        <pc:chgData name="Daniel Spiers" userId="a9c74899-53bb-4cb9-b8b6-43457e809e98" providerId="ADAL" clId="{6F5048BA-3093-440C-A478-325AAA586EB0}" dt="2018-06-11T09:55:00.293" v="579" actId="2696"/>
        <pc:sldMkLst>
          <pc:docMk/>
          <pc:sldMk cId="1507016184" sldId="1011"/>
        </pc:sldMkLst>
      </pc:sldChg>
      <pc:sldChg chg="add del">
        <pc:chgData name="Daniel Spiers" userId="a9c74899-53bb-4cb9-b8b6-43457e809e98" providerId="ADAL" clId="{6F5048BA-3093-440C-A478-325AAA586EB0}" dt="2018-06-11T08:58:58.914" v="57" actId="2696"/>
        <pc:sldMkLst>
          <pc:docMk/>
          <pc:sldMk cId="4236839171" sldId="1012"/>
        </pc:sldMkLst>
      </pc:sldChg>
      <pc:sldChg chg="del">
        <pc:chgData name="Daniel Spiers" userId="a9c74899-53bb-4cb9-b8b6-43457e809e98" providerId="ADAL" clId="{6F5048BA-3093-440C-A478-325AAA586EB0}" dt="2018-06-11T09:55:00.358" v="582" actId="2696"/>
        <pc:sldMkLst>
          <pc:docMk/>
          <pc:sldMk cId="701666575" sldId="1014"/>
        </pc:sldMkLst>
      </pc:sldChg>
      <pc:sldChg chg="add del">
        <pc:chgData name="Daniel Spiers" userId="a9c74899-53bb-4cb9-b8b6-43457e809e98" providerId="ADAL" clId="{6F5048BA-3093-440C-A478-325AAA586EB0}" dt="2018-06-11T09:27:04.557" v="69" actId="2696"/>
        <pc:sldMkLst>
          <pc:docMk/>
          <pc:sldMk cId="3005446982" sldId="1017"/>
        </pc:sldMkLst>
      </pc:sldChg>
      <pc:sldChg chg="add del">
        <pc:chgData name="Daniel Spiers" userId="a9c74899-53bb-4cb9-b8b6-43457e809e98" providerId="ADAL" clId="{6F5048BA-3093-440C-A478-325AAA586EB0}" dt="2018-06-08T14:51:22.545" v="6" actId="2696"/>
        <pc:sldMkLst>
          <pc:docMk/>
          <pc:sldMk cId="1718356718" sldId="1018"/>
        </pc:sldMkLst>
      </pc:sldChg>
      <pc:sldChg chg="modSp add del">
        <pc:chgData name="Daniel Spiers" userId="a9c74899-53bb-4cb9-b8b6-43457e809e98" providerId="ADAL" clId="{6F5048BA-3093-440C-A478-325AAA586EB0}" dt="2018-06-11T11:13:24.146" v="598" actId="2696"/>
        <pc:sldMkLst>
          <pc:docMk/>
          <pc:sldMk cId="2680284944" sldId="1019"/>
        </pc:sldMkLst>
        <pc:spChg chg="mod">
          <ac:chgData name="Daniel Spiers" userId="a9c74899-53bb-4cb9-b8b6-43457e809e98" providerId="ADAL" clId="{6F5048BA-3093-440C-A478-325AAA586EB0}" dt="2018-06-08T14:51:37.262" v="7" actId="27636"/>
          <ac:spMkLst>
            <pc:docMk/>
            <pc:sldMk cId="2680284944" sldId="1019"/>
            <ac:spMk id="6" creationId="{97F4C475-6A16-456B-B118-80CEC03DD1D4}"/>
          </ac:spMkLst>
        </pc:spChg>
      </pc:sldChg>
      <pc:sldChg chg="delSp modSp add">
        <pc:chgData name="Daniel Spiers" userId="a9c74899-53bb-4cb9-b8b6-43457e809e98" providerId="ADAL" clId="{6F5048BA-3093-440C-A478-325AAA586EB0}" dt="2018-06-11T09:32:11.924" v="158" actId="1038"/>
        <pc:sldMkLst>
          <pc:docMk/>
          <pc:sldMk cId="684163509" sldId="1023"/>
        </pc:sldMkLst>
        <pc:spChg chg="mod">
          <ac:chgData name="Daniel Spiers" userId="a9c74899-53bb-4cb9-b8b6-43457e809e98" providerId="ADAL" clId="{6F5048BA-3093-440C-A478-325AAA586EB0}" dt="2018-06-11T09:30:24.099" v="99" actId="20577"/>
          <ac:spMkLst>
            <pc:docMk/>
            <pc:sldMk cId="684163509" sldId="1023"/>
            <ac:spMk id="2" creationId="{20BDCE1F-CDE4-4362-B9B3-4D1F0EE95726}"/>
          </ac:spMkLst>
        </pc:spChg>
        <pc:spChg chg="del">
          <ac:chgData name="Daniel Spiers" userId="a9c74899-53bb-4cb9-b8b6-43457e809e98" providerId="ADAL" clId="{6F5048BA-3093-440C-A478-325AAA586EB0}" dt="2018-06-11T09:30:29.356" v="100" actId="478"/>
          <ac:spMkLst>
            <pc:docMk/>
            <pc:sldMk cId="684163509" sldId="1023"/>
            <ac:spMk id="3" creationId="{EBDB208A-BB51-429B-8CB6-47A9F3557F16}"/>
          </ac:spMkLst>
        </pc:spChg>
        <pc:spChg chg="mod">
          <ac:chgData name="Daniel Spiers" userId="a9c74899-53bb-4cb9-b8b6-43457e809e98" providerId="ADAL" clId="{6F5048BA-3093-440C-A478-325AAA586EB0}" dt="2018-06-11T09:32:11.924" v="158" actId="1038"/>
          <ac:spMkLst>
            <pc:docMk/>
            <pc:sldMk cId="684163509" sldId="1023"/>
            <ac:spMk id="4" creationId="{37BDAA10-A467-4DF1-9DF2-E511A3C44F0E}"/>
          </ac:spMkLst>
        </pc:spChg>
      </pc:sldChg>
      <pc:sldChg chg="del">
        <pc:chgData name="Daniel Spiers" userId="a9c74899-53bb-4cb9-b8b6-43457e809e98" providerId="ADAL" clId="{6F5048BA-3093-440C-A478-325AAA586EB0}" dt="2018-06-11T09:25:50.397" v="64" actId="2696"/>
        <pc:sldMkLst>
          <pc:docMk/>
          <pc:sldMk cId="3206067035" sldId="1023"/>
        </pc:sldMkLst>
      </pc:sldChg>
      <pc:sldChg chg="modSp">
        <pc:chgData name="Daniel Spiers" userId="a9c74899-53bb-4cb9-b8b6-43457e809e98" providerId="ADAL" clId="{6F5048BA-3093-440C-A478-325AAA586EB0}" dt="2018-06-11T09:34:39.749" v="263" actId="113"/>
        <pc:sldMkLst>
          <pc:docMk/>
          <pc:sldMk cId="1474676901" sldId="1024"/>
        </pc:sldMkLst>
        <pc:spChg chg="mod">
          <ac:chgData name="Daniel Spiers" userId="a9c74899-53bb-4cb9-b8b6-43457e809e98" providerId="ADAL" clId="{6F5048BA-3093-440C-A478-325AAA586EB0}" dt="2018-06-11T09:32:56.754" v="180" actId="20577"/>
          <ac:spMkLst>
            <pc:docMk/>
            <pc:sldMk cId="1474676901" sldId="1024"/>
            <ac:spMk id="2" creationId="{20BDCE1F-CDE4-4362-B9B3-4D1F0EE95726}"/>
          </ac:spMkLst>
        </pc:spChg>
        <pc:spChg chg="mod">
          <ac:chgData name="Daniel Spiers" userId="a9c74899-53bb-4cb9-b8b6-43457e809e98" providerId="ADAL" clId="{6F5048BA-3093-440C-A478-325AAA586EB0}" dt="2018-06-11T09:34:39.749" v="263" actId="113"/>
          <ac:spMkLst>
            <pc:docMk/>
            <pc:sldMk cId="1474676901" sldId="1024"/>
            <ac:spMk id="4" creationId="{37BDAA10-A467-4DF1-9DF2-E511A3C44F0E}"/>
          </ac:spMkLst>
        </pc:spChg>
      </pc:sldChg>
      <pc:sldChg chg="addSp delSp modSp add">
        <pc:chgData name="Daniel Spiers" userId="a9c74899-53bb-4cb9-b8b6-43457e809e98" providerId="ADAL" clId="{6F5048BA-3093-440C-A478-325AAA586EB0}" dt="2018-06-11T09:51:56.359" v="513" actId="14100"/>
        <pc:sldMkLst>
          <pc:docMk/>
          <pc:sldMk cId="2748075888" sldId="1025"/>
        </pc:sldMkLst>
        <pc:spChg chg="mod">
          <ac:chgData name="Daniel Spiers" userId="a9c74899-53bb-4cb9-b8b6-43457e809e98" providerId="ADAL" clId="{6F5048BA-3093-440C-A478-325AAA586EB0}" dt="2018-06-11T09:47:02.609" v="494" actId="14100"/>
          <ac:spMkLst>
            <pc:docMk/>
            <pc:sldMk cId="2748075888" sldId="1025"/>
            <ac:spMk id="2" creationId="{F0226192-A22F-4C41-827D-3CDB745AA0D2}"/>
          </ac:spMkLst>
        </pc:spChg>
        <pc:spChg chg="mod">
          <ac:chgData name="Daniel Spiers" userId="a9c74899-53bb-4cb9-b8b6-43457e809e98" providerId="ADAL" clId="{6F5048BA-3093-440C-A478-325AAA586EB0}" dt="2018-06-11T09:47:08.391" v="507" actId="1036"/>
          <ac:spMkLst>
            <pc:docMk/>
            <pc:sldMk cId="2748075888" sldId="1025"/>
            <ac:spMk id="3" creationId="{D1953618-D384-4378-AC75-5E880EDEFD71}"/>
          </ac:spMkLst>
        </pc:spChg>
        <pc:spChg chg="add del mod">
          <ac:chgData name="Daniel Spiers" userId="a9c74899-53bb-4cb9-b8b6-43457e809e98" providerId="ADAL" clId="{6F5048BA-3093-440C-A478-325AAA586EB0}" dt="2018-06-11T09:47:37.678" v="510" actId="478"/>
          <ac:spMkLst>
            <pc:docMk/>
            <pc:sldMk cId="2748075888" sldId="1025"/>
            <ac:spMk id="8" creationId="{F1B08CDF-F334-4A2E-8EF7-80D50CA511A3}"/>
          </ac:spMkLst>
        </pc:spChg>
        <pc:picChg chg="add del mod modCrop">
          <ac:chgData name="Daniel Spiers" userId="a9c74899-53bb-4cb9-b8b6-43457e809e98" providerId="ADAL" clId="{6F5048BA-3093-440C-A478-325AAA586EB0}" dt="2018-06-11T09:45:03.856" v="478" actId="478"/>
          <ac:picMkLst>
            <pc:docMk/>
            <pc:sldMk cId="2748075888" sldId="1025"/>
            <ac:picMk id="5" creationId="{0CAB4499-0E2B-4216-B265-E6E9077C44F6}"/>
          </ac:picMkLst>
        </pc:picChg>
        <pc:picChg chg="add del mod">
          <ac:chgData name="Daniel Spiers" userId="a9c74899-53bb-4cb9-b8b6-43457e809e98" providerId="ADAL" clId="{6F5048BA-3093-440C-A478-325AAA586EB0}" dt="2018-06-11T09:46:54.938" v="492" actId="478"/>
          <ac:picMkLst>
            <pc:docMk/>
            <pc:sldMk cId="2748075888" sldId="1025"/>
            <ac:picMk id="7" creationId="{B5B0E3C2-9355-47F6-839F-BE84011C60BC}"/>
          </ac:picMkLst>
        </pc:picChg>
        <pc:picChg chg="add mod">
          <ac:chgData name="Daniel Spiers" userId="a9c74899-53bb-4cb9-b8b6-43457e809e98" providerId="ADAL" clId="{6F5048BA-3093-440C-A478-325AAA586EB0}" dt="2018-06-11T09:51:56.359" v="513" actId="14100"/>
          <ac:picMkLst>
            <pc:docMk/>
            <pc:sldMk cId="2748075888" sldId="1025"/>
            <ac:picMk id="10" creationId="{98AA3A7B-F4FC-4F19-831B-606E8BFFB986}"/>
          </ac:picMkLst>
        </pc:picChg>
      </pc:sldChg>
      <pc:sldChg chg="modSp">
        <pc:chgData name="Daniel Spiers" userId="a9c74899-53bb-4cb9-b8b6-43457e809e98" providerId="ADAL" clId="{6F5048BA-3093-440C-A478-325AAA586EB0}" dt="2018-06-11T10:00:23.165" v="590" actId="113"/>
        <pc:sldMkLst>
          <pc:docMk/>
          <pc:sldMk cId="1627736587" sldId="1026"/>
        </pc:sldMkLst>
        <pc:spChg chg="mod">
          <ac:chgData name="Daniel Spiers" userId="a9c74899-53bb-4cb9-b8b6-43457e809e98" providerId="ADAL" clId="{6F5048BA-3093-440C-A478-325AAA586EB0}" dt="2018-06-11T09:54:35.704" v="564" actId="20577"/>
          <ac:spMkLst>
            <pc:docMk/>
            <pc:sldMk cId="1627736587" sldId="1026"/>
            <ac:spMk id="2" creationId="{20BDCE1F-CDE4-4362-B9B3-4D1F0EE95726}"/>
          </ac:spMkLst>
        </pc:spChg>
        <pc:spChg chg="mod">
          <ac:chgData name="Daniel Spiers" userId="a9c74899-53bb-4cb9-b8b6-43457e809e98" providerId="ADAL" clId="{6F5048BA-3093-440C-A478-325AAA586EB0}" dt="2018-06-11T10:00:23.165" v="590" actId="113"/>
          <ac:spMkLst>
            <pc:docMk/>
            <pc:sldMk cId="1627736587" sldId="1026"/>
            <ac:spMk id="4" creationId="{37BDAA10-A467-4DF1-9DF2-E511A3C44F0E}"/>
          </ac:spMkLst>
        </pc:spChg>
      </pc:sldChg>
      <pc:sldChg chg="modSp">
        <pc:chgData name="Daniel Spiers" userId="a9c74899-53bb-4cb9-b8b6-43457e809e98" providerId="ADAL" clId="{6F5048BA-3093-440C-A478-325AAA586EB0}" dt="2018-06-11T11:12:16.198" v="593" actId="27636"/>
        <pc:sldMkLst>
          <pc:docMk/>
          <pc:sldMk cId="3749277162" sldId="1027"/>
        </pc:sldMkLst>
        <pc:spChg chg="mod">
          <ac:chgData name="Daniel Spiers" userId="a9c74899-53bb-4cb9-b8b6-43457e809e98" providerId="ADAL" clId="{6F5048BA-3093-440C-A478-325AAA586EB0}" dt="2018-06-11T11:12:16.198" v="593" actId="27636"/>
          <ac:spMkLst>
            <pc:docMk/>
            <pc:sldMk cId="3749277162" sldId="1027"/>
            <ac:spMk id="3" creationId="{051C9961-8192-449B-B9AA-B88FCFB8D933}"/>
          </ac:spMkLst>
        </pc:spChg>
      </pc:sldChg>
      <pc:sldChg chg="modSp add del">
        <pc:chgData name="Daniel Spiers" userId="a9c74899-53bb-4cb9-b8b6-43457e809e98" providerId="ADAL" clId="{6F5048BA-3093-440C-A478-325AAA586EB0}" dt="2018-06-11T11:14:37.770" v="603" actId="2696"/>
        <pc:sldMkLst>
          <pc:docMk/>
          <pc:sldMk cId="72727515" sldId="1028"/>
        </pc:sldMkLst>
        <pc:spChg chg="mod">
          <ac:chgData name="Daniel Spiers" userId="a9c74899-53bb-4cb9-b8b6-43457e809e98" providerId="ADAL" clId="{6F5048BA-3093-440C-A478-325AAA586EB0}" dt="2018-06-11T11:14:30.927" v="602" actId="27636"/>
          <ac:spMkLst>
            <pc:docMk/>
            <pc:sldMk cId="72727515" sldId="1028"/>
            <ac:spMk id="3" creationId="{051C9961-8192-449B-B9AA-B88FCFB8D933}"/>
          </ac:spMkLst>
        </pc:spChg>
      </pc:sldChg>
      <pc:sldChg chg="modSp del">
        <pc:chgData name="Daniel Spiers" userId="a9c74899-53bb-4cb9-b8b6-43457e809e98" providerId="ADAL" clId="{6F5048BA-3093-440C-A478-325AAA586EB0}" dt="2018-06-11T11:12:50.301" v="596" actId="2696"/>
        <pc:sldMkLst>
          <pc:docMk/>
          <pc:sldMk cId="701178951" sldId="1028"/>
        </pc:sldMkLst>
        <pc:spChg chg="mod">
          <ac:chgData name="Daniel Spiers" userId="a9c74899-53bb-4cb9-b8b6-43457e809e98" providerId="ADAL" clId="{6F5048BA-3093-440C-A478-325AAA586EB0}" dt="2018-06-11T11:12:44.328" v="595" actId="27636"/>
          <ac:spMkLst>
            <pc:docMk/>
            <pc:sldMk cId="701178951" sldId="1028"/>
            <ac:spMk id="3" creationId="{051C9961-8192-449B-B9AA-B88FCFB8D933}"/>
          </ac:spMkLst>
        </pc:spChg>
      </pc:sldChg>
      <pc:sldChg chg="modSp del">
        <pc:chgData name="Daniel Spiers" userId="a9c74899-53bb-4cb9-b8b6-43457e809e98" providerId="ADAL" clId="{6F5048BA-3093-440C-A478-325AAA586EB0}" dt="2018-06-11T11:14:02.099" v="600" actId="2696"/>
        <pc:sldMkLst>
          <pc:docMk/>
          <pc:sldMk cId="3507206634" sldId="1028"/>
        </pc:sldMkLst>
        <pc:spChg chg="mod">
          <ac:chgData name="Daniel Spiers" userId="a9c74899-53bb-4cb9-b8b6-43457e809e98" providerId="ADAL" clId="{6F5048BA-3093-440C-A478-325AAA586EB0}" dt="2018-06-11T11:13:49.749" v="599" actId="27636"/>
          <ac:spMkLst>
            <pc:docMk/>
            <pc:sldMk cId="3507206634" sldId="1028"/>
            <ac:spMk id="3" creationId="{051C9961-8192-449B-B9AA-B88FCFB8D933}"/>
          </ac:spMkLst>
        </pc:spChg>
      </pc:sldChg>
      <pc:sldMasterChg chg="delSldLayout">
        <pc:chgData name="Daniel Spiers" userId="a9c74899-53bb-4cb9-b8b6-43457e809e98" providerId="ADAL" clId="{6F5048BA-3093-440C-A478-325AAA586EB0}" dt="2018-06-11T09:36:48.333" v="265" actId="2696"/>
        <pc:sldMasterMkLst>
          <pc:docMk/>
          <pc:sldMasterMk cId="554456388" sldId="2147483660"/>
        </pc:sldMasterMkLst>
        <pc:sldLayoutChg chg="del">
          <pc:chgData name="Daniel Spiers" userId="a9c74899-53bb-4cb9-b8b6-43457e809e98" providerId="ADAL" clId="{6F5048BA-3093-440C-A478-325AAA586EB0}" dt="2018-06-11T09:36:48.333" v="265" actId="2696"/>
          <pc:sldLayoutMkLst>
            <pc:docMk/>
            <pc:sldMasterMk cId="554456388" sldId="2147483660"/>
            <pc:sldLayoutMk cId="3019751232" sldId="2147483779"/>
          </pc:sldLayoutMkLst>
        </pc:sldLayoutChg>
      </pc:sldMasterChg>
      <pc:sldMasterChg chg="delSldLayout">
        <pc:chgData name="Daniel Spiers" userId="a9c74899-53bb-4cb9-b8b6-43457e809e98" providerId="ADAL" clId="{6F5048BA-3093-440C-A478-325AAA586EB0}" dt="2018-06-08T15:12:43.689" v="54" actId="2696"/>
        <pc:sldMasterMkLst>
          <pc:docMk/>
          <pc:sldMasterMk cId="536661345" sldId="2147483691"/>
        </pc:sldMasterMkLst>
      </pc:sldMasterChg>
      <pc:sldMasterChg chg="addSldLayout delSldLayout">
        <pc:chgData name="Daniel Spiers" userId="a9c74899-53bb-4cb9-b8b6-43457e809e98" providerId="ADAL" clId="{6F5048BA-3093-440C-A478-325AAA586EB0}" dt="2018-06-11T09:57:45.382" v="587" actId="2696"/>
        <pc:sldMasterMkLst>
          <pc:docMk/>
          <pc:sldMasterMk cId="407499054" sldId="2147483716"/>
        </pc:sldMasterMkLst>
        <pc:sldLayoutChg chg="add del">
          <pc:chgData name="Daniel Spiers" userId="a9c74899-53bb-4cb9-b8b6-43457e809e98" providerId="ADAL" clId="{6F5048BA-3093-440C-A478-325AAA586EB0}" dt="2018-06-11T09:57:45.382" v="587" actId="2696"/>
          <pc:sldLayoutMkLst>
            <pc:docMk/>
            <pc:sldMasterMk cId="407499054" sldId="2147483716"/>
            <pc:sldLayoutMk cId="2738196759" sldId="2147483754"/>
          </pc:sldLayoutMkLst>
        </pc:sldLayoutChg>
        <pc:sldLayoutChg chg="del">
          <pc:chgData name="Daniel Spiers" userId="a9c74899-53bb-4cb9-b8b6-43457e809e98" providerId="ADAL" clId="{6F5048BA-3093-440C-A478-325AAA586EB0}" dt="2018-06-11T09:55:00.295" v="580" actId="2696"/>
          <pc:sldLayoutMkLst>
            <pc:docMk/>
            <pc:sldMasterMk cId="407499054" sldId="2147483716"/>
            <pc:sldLayoutMk cId="768737342" sldId="2147483777"/>
          </pc:sldLayoutMkLst>
        </pc:sldLayoutChg>
      </pc:sldMasterChg>
    </pc:docChg>
  </pc:docChgLst>
  <pc:docChgLst>
    <pc:chgData name="Daniel Spiers" userId="S::dasp1@hscic.gov.uk::a9c74899-53bb-4cb9-b8b6-43457e809e98" providerId="AD" clId="Web-{E8372594-B1AB-48E5-B3BC-E7998F0365AC}"/>
    <pc:docChg chg="addSld delSld modSld sldOrd modSection">
      <pc:chgData name="Daniel Spiers" userId="S::dasp1@hscic.gov.uk::a9c74899-53bb-4cb9-b8b6-43457e809e98" providerId="AD" clId="Web-{E8372594-B1AB-48E5-B3BC-E7998F0365AC}" dt="2018-06-11T08:42:03.868" v="33"/>
      <pc:docMkLst>
        <pc:docMk/>
      </pc:docMkLst>
      <pc:sldChg chg="del ord">
        <pc:chgData name="Daniel Spiers" userId="S::dasp1@hscic.gov.uk::a9c74899-53bb-4cb9-b8b6-43457e809e98" providerId="AD" clId="Web-{E8372594-B1AB-48E5-B3BC-E7998F0365AC}" dt="2018-06-11T07:24:16.349" v="3"/>
        <pc:sldMkLst>
          <pc:docMk/>
          <pc:sldMk cId="4230369796" sldId="579"/>
        </pc:sldMkLst>
      </pc:sldChg>
      <pc:sldChg chg="add del">
        <pc:chgData name="Daniel Spiers" userId="S::dasp1@hscic.gov.uk::a9c74899-53bb-4cb9-b8b6-43457e809e98" providerId="AD" clId="Web-{E8372594-B1AB-48E5-B3BC-E7998F0365AC}" dt="2018-06-11T08:37:58.322" v="25"/>
        <pc:sldMkLst>
          <pc:docMk/>
          <pc:sldMk cId="3039735340" sldId="1020"/>
        </pc:sldMkLst>
      </pc:sldChg>
      <pc:sldChg chg="add">
        <pc:chgData name="Daniel Spiers" userId="S::dasp1@hscic.gov.uk::a9c74899-53bb-4cb9-b8b6-43457e809e98" providerId="AD" clId="Web-{E8372594-B1AB-48E5-B3BC-E7998F0365AC}" dt="2018-06-11T07:25:25.068" v="5"/>
        <pc:sldMkLst>
          <pc:docMk/>
          <pc:sldMk cId="2501060515" sldId="1021"/>
        </pc:sldMkLst>
      </pc:sldChg>
      <pc:sldChg chg="addSp delSp modSp new ord">
        <pc:chgData name="Daniel Spiers" userId="S::dasp1@hscic.gov.uk::a9c74899-53bb-4cb9-b8b6-43457e809e98" providerId="AD" clId="Web-{E8372594-B1AB-48E5-B3BC-E7998F0365AC}" dt="2018-06-11T08:37:07.151" v="24"/>
        <pc:sldMkLst>
          <pc:docMk/>
          <pc:sldMk cId="354582513" sldId="1022"/>
        </pc:sldMkLst>
        <pc:spChg chg="del">
          <ac:chgData name="Daniel Spiers" userId="S::dasp1@hscic.gov.uk::a9c74899-53bb-4cb9-b8b6-43457e809e98" providerId="AD" clId="Web-{E8372594-B1AB-48E5-B3BC-E7998F0365AC}" dt="2018-06-11T07:26:39.162" v="11"/>
          <ac:spMkLst>
            <pc:docMk/>
            <pc:sldMk cId="354582513" sldId="1022"/>
            <ac:spMk id="2" creationId="{4F967B14-4177-4551-8192-B5BABE8A3A9D}"/>
          </ac:spMkLst>
        </pc:spChg>
        <pc:spChg chg="del">
          <ac:chgData name="Daniel Spiers" userId="S::dasp1@hscic.gov.uk::a9c74899-53bb-4cb9-b8b6-43457e809e98" providerId="AD" clId="Web-{E8372594-B1AB-48E5-B3BC-E7998F0365AC}" dt="2018-06-11T07:26:42.818" v="12"/>
          <ac:spMkLst>
            <pc:docMk/>
            <pc:sldMk cId="354582513" sldId="1022"/>
            <ac:spMk id="3" creationId="{EFC6A69B-7E9D-4EC0-86ED-AF22D52C1B22}"/>
          </ac:spMkLst>
        </pc:spChg>
        <pc:spChg chg="add del">
          <ac:chgData name="Daniel Spiers" userId="S::dasp1@hscic.gov.uk::a9c74899-53bb-4cb9-b8b6-43457e809e98" providerId="AD" clId="Web-{E8372594-B1AB-48E5-B3BC-E7998F0365AC}" dt="2018-06-11T07:27:01.068" v="15"/>
          <ac:spMkLst>
            <pc:docMk/>
            <pc:sldMk cId="354582513" sldId="1022"/>
            <ac:spMk id="5" creationId="{1328D485-072C-40FE-AC38-C3716E599BC4}"/>
          </ac:spMkLst>
        </pc:spChg>
        <pc:spChg chg="add del">
          <ac:chgData name="Daniel Spiers" userId="S::dasp1@hscic.gov.uk::a9c74899-53bb-4cb9-b8b6-43457e809e98" providerId="AD" clId="Web-{E8372594-B1AB-48E5-B3BC-E7998F0365AC}" dt="2018-06-11T07:27:01.068" v="14"/>
          <ac:spMkLst>
            <pc:docMk/>
            <pc:sldMk cId="354582513" sldId="1022"/>
            <ac:spMk id="6" creationId="{01125CE7-571C-42A9-ACFC-2B0AB0AD2BAC}"/>
          </ac:spMkLst>
        </pc:spChg>
        <pc:spChg chg="add mod">
          <ac:chgData name="Daniel Spiers" userId="S::dasp1@hscic.gov.uk::a9c74899-53bb-4cb9-b8b6-43457e809e98" providerId="AD" clId="Web-{E8372594-B1AB-48E5-B3BC-E7998F0365AC}" dt="2018-06-11T07:27:55.271" v="19" actId="1076"/>
          <ac:spMkLst>
            <pc:docMk/>
            <pc:sldMk cId="354582513" sldId="1022"/>
            <ac:spMk id="7" creationId="{F529C1A1-3E7A-4DD8-BBDB-6E5FB4287A94}"/>
          </ac:spMkLst>
        </pc:spChg>
        <pc:spChg chg="add mod">
          <ac:chgData name="Daniel Spiers" userId="S::dasp1@hscic.gov.uk::a9c74899-53bb-4cb9-b8b6-43457e809e98" providerId="AD" clId="Web-{E8372594-B1AB-48E5-B3BC-E7998F0365AC}" dt="2018-06-11T08:07:36.125" v="23" actId="1076"/>
          <ac:spMkLst>
            <pc:docMk/>
            <pc:sldMk cId="354582513" sldId="1022"/>
            <ac:spMk id="8" creationId="{05811091-BBB5-47DB-9848-9331F3A593AC}"/>
          </ac:spMkLst>
        </pc:spChg>
      </pc:sldChg>
      <pc:sldChg chg="add del">
        <pc:chgData name="Daniel Spiers" userId="S::dasp1@hscic.gov.uk::a9c74899-53bb-4cb9-b8b6-43457e809e98" providerId="AD" clId="Web-{E8372594-B1AB-48E5-B3BC-E7998F0365AC}" dt="2018-06-11T07:25:57.803" v="9"/>
        <pc:sldMkLst>
          <pc:docMk/>
          <pc:sldMk cId="1673784414" sldId="1022"/>
        </pc:sldMkLst>
      </pc:sldChg>
      <pc:sldChg chg="delSp new del">
        <pc:chgData name="Daniel Spiers" userId="S::dasp1@hscic.gov.uk::a9c74899-53bb-4cb9-b8b6-43457e809e98" providerId="AD" clId="Web-{E8372594-B1AB-48E5-B3BC-E7998F0365AC}" dt="2018-06-11T08:41:35.118" v="30"/>
        <pc:sldMkLst>
          <pc:docMk/>
          <pc:sldMk cId="751290568" sldId="1023"/>
        </pc:sldMkLst>
        <pc:spChg chg="del">
          <ac:chgData name="Daniel Spiers" userId="S::dasp1@hscic.gov.uk::a9c74899-53bb-4cb9-b8b6-43457e809e98" providerId="AD" clId="Web-{E8372594-B1AB-48E5-B3BC-E7998F0365AC}" dt="2018-06-11T08:41:30.618" v="29"/>
          <ac:spMkLst>
            <pc:docMk/>
            <pc:sldMk cId="751290568" sldId="1023"/>
            <ac:spMk id="2" creationId="{AF601AF5-FE0A-40C0-BDD9-06B7522C1D25}"/>
          </ac:spMkLst>
        </pc:spChg>
      </pc:sldChg>
      <pc:sldChg chg="delSp new">
        <pc:chgData name="Daniel Spiers" userId="S::dasp1@hscic.gov.uk::a9c74899-53bb-4cb9-b8b6-43457e809e98" providerId="AD" clId="Web-{E8372594-B1AB-48E5-B3BC-E7998F0365AC}" dt="2018-06-11T08:42:03.868" v="33"/>
        <pc:sldMkLst>
          <pc:docMk/>
          <pc:sldMk cId="3206067035" sldId="1023"/>
        </pc:sldMkLst>
        <pc:spChg chg="del">
          <ac:chgData name="Daniel Spiers" userId="S::dasp1@hscic.gov.uk::a9c74899-53bb-4cb9-b8b6-43457e809e98" providerId="AD" clId="Web-{E8372594-B1AB-48E5-B3BC-E7998F0365AC}" dt="2018-06-11T08:42:00.727" v="32"/>
          <ac:spMkLst>
            <pc:docMk/>
            <pc:sldMk cId="3206067035" sldId="1023"/>
            <ac:spMk id="2" creationId="{B46F9DF7-9DBD-420D-98E3-0832EFA06062}"/>
          </ac:spMkLst>
        </pc:spChg>
        <pc:spChg chg="del">
          <ac:chgData name="Daniel Spiers" userId="S::dasp1@hscic.gov.uk::a9c74899-53bb-4cb9-b8b6-43457e809e98" providerId="AD" clId="Web-{E8372594-B1AB-48E5-B3BC-E7998F0365AC}" dt="2018-06-11T08:42:03.868" v="33"/>
          <ac:spMkLst>
            <pc:docMk/>
            <pc:sldMk cId="3206067035" sldId="1023"/>
            <ac:spMk id="4" creationId="{0C49BE49-032E-48DB-BC23-895A22A7E8D5}"/>
          </ac:spMkLst>
        </pc:spChg>
      </pc:sldChg>
      <pc:sldChg chg="new del">
        <pc:chgData name="Daniel Spiers" userId="S::dasp1@hscic.gov.uk::a9c74899-53bb-4cb9-b8b6-43457e809e98" providerId="AD" clId="Web-{E8372594-B1AB-48E5-B3BC-E7998F0365AC}" dt="2018-06-11T08:41:17.649" v="27"/>
        <pc:sldMkLst>
          <pc:docMk/>
          <pc:sldMk cId="3477982521" sldId="1023"/>
        </pc:sldMkLst>
      </pc:sldChg>
      <pc:sldMasterChg chg="addSldLayout">
        <pc:chgData name="Daniel Spiers" userId="S::dasp1@hscic.gov.uk::a9c74899-53bb-4cb9-b8b6-43457e809e98" providerId="AD" clId="Web-{E8372594-B1AB-48E5-B3BC-E7998F0365AC}" dt="2018-06-11T07:25:24.912" v="4"/>
        <pc:sldMasterMkLst>
          <pc:docMk/>
          <pc:sldMasterMk cId="536661345" sldId="2147483691"/>
        </pc:sldMasterMkLst>
        <pc:sldLayoutChg chg="add">
          <pc:chgData name="Daniel Spiers" userId="S::dasp1@hscic.gov.uk::a9c74899-53bb-4cb9-b8b6-43457e809e98" providerId="AD" clId="Web-{E8372594-B1AB-48E5-B3BC-E7998F0365AC}" dt="2018-06-11T07:25:24.912" v="4"/>
          <pc:sldLayoutMkLst>
            <pc:docMk/>
            <pc:sldMasterMk cId="536661345" sldId="2147483691"/>
            <pc:sldLayoutMk cId="711371080" sldId="2147483698"/>
          </pc:sldLayoutMkLst>
        </pc:sldLayoutChg>
      </pc:sldMasterChg>
    </pc:docChg>
  </pc:docChgLst>
  <pc:docChgLst>
    <pc:chgData name="Daniel Spiers" userId="S::dasp1@hscic.gov.uk::a9c74899-53bb-4cb9-b8b6-43457e809e98" providerId="AD" clId="Web-{0C8F104E-5D77-4844-B3A1-CDDFA88E5EA0}"/>
    <pc:docChg chg="delSld modSld modSection">
      <pc:chgData name="Daniel Spiers" userId="S::dasp1@hscic.gov.uk::a9c74899-53bb-4cb9-b8b6-43457e809e98" providerId="AD" clId="Web-{0C8F104E-5D77-4844-B3A1-CDDFA88E5EA0}" dt="2018-06-11T09:24:46.553" v="12"/>
      <pc:docMkLst>
        <pc:docMk/>
      </pc:docMkLst>
      <pc:sldChg chg="del">
        <pc:chgData name="Daniel Spiers" userId="S::dasp1@hscic.gov.uk::a9c74899-53bb-4cb9-b8b6-43457e809e98" providerId="AD" clId="Web-{0C8F104E-5D77-4844-B3A1-CDDFA88E5EA0}" dt="2018-06-11T09:23:26.039" v="7"/>
        <pc:sldMkLst>
          <pc:docMk/>
          <pc:sldMk cId="2951733669" sldId="316"/>
        </pc:sldMkLst>
      </pc:sldChg>
      <pc:sldChg chg="del">
        <pc:chgData name="Daniel Spiers" userId="S::dasp1@hscic.gov.uk::a9c74899-53bb-4cb9-b8b6-43457e809e98" providerId="AD" clId="Web-{0C8F104E-5D77-4844-B3A1-CDDFA88E5EA0}" dt="2018-06-11T08:58:26.979" v="1"/>
        <pc:sldMkLst>
          <pc:docMk/>
          <pc:sldMk cId="1045018757" sldId="577"/>
        </pc:sldMkLst>
      </pc:sldChg>
      <pc:sldChg chg="addSp delSp modSp">
        <pc:chgData name="Daniel Spiers" userId="S::dasp1@hscic.gov.uk::a9c74899-53bb-4cb9-b8b6-43457e809e98" providerId="AD" clId="Web-{0C8F104E-5D77-4844-B3A1-CDDFA88E5EA0}" dt="2018-06-11T09:24:23.959" v="10"/>
        <pc:sldMkLst>
          <pc:docMk/>
          <pc:sldMk cId="1305139472" sldId="589"/>
        </pc:sldMkLst>
        <pc:picChg chg="add del mod">
          <ac:chgData name="Daniel Spiers" userId="S::dasp1@hscic.gov.uk::a9c74899-53bb-4cb9-b8b6-43457e809e98" providerId="AD" clId="Web-{0C8F104E-5D77-4844-B3A1-CDDFA88E5EA0}" dt="2018-06-11T09:24:23.959" v="10"/>
          <ac:picMkLst>
            <pc:docMk/>
            <pc:sldMk cId="1305139472" sldId="589"/>
            <ac:picMk id="3" creationId="{9D6902CC-B245-487D-8576-9D109EFE478C}"/>
          </ac:picMkLst>
        </pc:picChg>
      </pc:sldChg>
      <pc:sldChg chg="del">
        <pc:chgData name="Daniel Spiers" userId="S::dasp1@hscic.gov.uk::a9c74899-53bb-4cb9-b8b6-43457e809e98" providerId="AD" clId="Web-{0C8F104E-5D77-4844-B3A1-CDDFA88E5EA0}" dt="2018-06-11T09:23:01.337" v="4"/>
        <pc:sldMkLst>
          <pc:docMk/>
          <pc:sldMk cId="1130132780" sldId="590"/>
        </pc:sldMkLst>
      </pc:sldChg>
      <pc:sldChg chg="del">
        <pc:chgData name="Daniel Spiers" userId="S::dasp1@hscic.gov.uk::a9c74899-53bb-4cb9-b8b6-43457e809e98" providerId="AD" clId="Web-{0C8F104E-5D77-4844-B3A1-CDDFA88E5EA0}" dt="2018-06-11T09:23:26.039" v="6"/>
        <pc:sldMkLst>
          <pc:docMk/>
          <pc:sldMk cId="395499376" sldId="591"/>
        </pc:sldMkLst>
      </pc:sldChg>
      <pc:sldChg chg="del">
        <pc:chgData name="Daniel Spiers" userId="S::dasp1@hscic.gov.uk::a9c74899-53bb-4cb9-b8b6-43457e809e98" providerId="AD" clId="Web-{0C8F104E-5D77-4844-B3A1-CDDFA88E5EA0}" dt="2018-06-11T09:23:29.023" v="8"/>
        <pc:sldMkLst>
          <pc:docMk/>
          <pc:sldMk cId="2256638832" sldId="596"/>
        </pc:sldMkLst>
      </pc:sldChg>
      <pc:sldChg chg="addSp">
        <pc:chgData name="Daniel Spiers" userId="S::dasp1@hscic.gov.uk::a9c74899-53bb-4cb9-b8b6-43457e809e98" providerId="AD" clId="Web-{0C8F104E-5D77-4844-B3A1-CDDFA88E5EA0}" dt="2018-06-11T08:57:06.621" v="0"/>
        <pc:sldMkLst>
          <pc:docMk/>
          <pc:sldMk cId="543148751" sldId="604"/>
        </pc:sldMkLst>
        <pc:spChg chg="add">
          <ac:chgData name="Daniel Spiers" userId="S::dasp1@hscic.gov.uk::a9c74899-53bb-4cb9-b8b6-43457e809e98" providerId="AD" clId="Web-{0C8F104E-5D77-4844-B3A1-CDDFA88E5EA0}" dt="2018-06-11T08:57:06.621" v="0"/>
          <ac:spMkLst>
            <pc:docMk/>
            <pc:sldMk cId="543148751" sldId="604"/>
            <ac:spMk id="5" creationId="{4B8B07CF-89BD-44BE-A38B-CD501823774F}"/>
          </ac:spMkLst>
        </pc:spChg>
      </pc:sldChg>
      <pc:sldChg chg="del">
        <pc:chgData name="Daniel Spiers" userId="S::dasp1@hscic.gov.uk::a9c74899-53bb-4cb9-b8b6-43457e809e98" providerId="AD" clId="Web-{0C8F104E-5D77-4844-B3A1-CDDFA88E5EA0}" dt="2018-06-11T09:22:51.134" v="3"/>
        <pc:sldMkLst>
          <pc:docMk/>
          <pc:sldMk cId="2903563932" sldId="1004"/>
        </pc:sldMkLst>
      </pc:sldChg>
      <pc:sldChg chg="del">
        <pc:chgData name="Daniel Spiers" userId="S::dasp1@hscic.gov.uk::a9c74899-53bb-4cb9-b8b6-43457e809e98" providerId="AD" clId="Web-{0C8F104E-5D77-4844-B3A1-CDDFA88E5EA0}" dt="2018-06-11T09:23:26.039" v="5"/>
        <pc:sldMkLst>
          <pc:docMk/>
          <pc:sldMk cId="1846658988" sldId="1008"/>
        </pc:sldMkLst>
      </pc:sldChg>
      <pc:sldChg chg="del">
        <pc:chgData name="Daniel Spiers" userId="S::dasp1@hscic.gov.uk::a9c74899-53bb-4cb9-b8b6-43457e809e98" providerId="AD" clId="Web-{0C8F104E-5D77-4844-B3A1-CDDFA88E5EA0}" dt="2018-06-11T08:58:34.901" v="2"/>
        <pc:sldMkLst>
          <pc:docMk/>
          <pc:sldMk cId="4236839171" sldId="1012"/>
        </pc:sldMkLst>
      </pc:sldChg>
      <pc:sldChg chg="addSp delSp modSp">
        <pc:chgData name="Daniel Spiers" userId="S::dasp1@hscic.gov.uk::a9c74899-53bb-4cb9-b8b6-43457e809e98" providerId="AD" clId="Web-{0C8F104E-5D77-4844-B3A1-CDDFA88E5EA0}" dt="2018-06-11T09:24:46.553" v="12"/>
        <pc:sldMkLst>
          <pc:docMk/>
          <pc:sldMk cId="2501060515" sldId="1021"/>
        </pc:sldMkLst>
        <pc:picChg chg="add del mod">
          <ac:chgData name="Daniel Spiers" userId="S::dasp1@hscic.gov.uk::a9c74899-53bb-4cb9-b8b6-43457e809e98" providerId="AD" clId="Web-{0C8F104E-5D77-4844-B3A1-CDDFA88E5EA0}" dt="2018-06-11T09:24:46.553" v="12"/>
          <ac:picMkLst>
            <pc:docMk/>
            <pc:sldMk cId="2501060515" sldId="1021"/>
            <ac:picMk id="2" creationId="{E9B7307B-8A35-4A57-ABBF-7AA3ABE15067}"/>
          </ac:picMkLst>
        </pc:picChg>
      </pc:sldChg>
    </pc:docChg>
  </pc:docChgLst>
  <pc:docChgLst>
    <pc:chgData name="Daniel Spiers" userId="S::dasp1@hscic.gov.uk::a9c74899-53bb-4cb9-b8b6-43457e809e98" providerId="AD" clId="Web-{E9ED02E7-2BB3-450A-9F22-D30DC5F63A7D}"/>
    <pc:docChg chg="modSld">
      <pc:chgData name="Daniel Spiers" userId="S::dasp1@hscic.gov.uk::a9c74899-53bb-4cb9-b8b6-43457e809e98" providerId="AD" clId="Web-{E9ED02E7-2BB3-450A-9F22-D30DC5F63A7D}" dt="2018-06-11T08:56:29.471" v="2"/>
      <pc:docMkLst>
        <pc:docMk/>
      </pc:docMkLst>
      <pc:sldChg chg="addSp delSp modSp">
        <pc:chgData name="Daniel Spiers" userId="S::dasp1@hscic.gov.uk::a9c74899-53bb-4cb9-b8b6-43457e809e98" providerId="AD" clId="Web-{E9ED02E7-2BB3-450A-9F22-D30DC5F63A7D}" dt="2018-06-11T08:56:29.471" v="2"/>
        <pc:sldMkLst>
          <pc:docMk/>
          <pc:sldMk cId="543148751" sldId="604"/>
        </pc:sldMkLst>
        <pc:spChg chg="del">
          <ac:chgData name="Daniel Spiers" userId="S::dasp1@hscic.gov.uk::a9c74899-53bb-4cb9-b8b6-43457e809e98" providerId="AD" clId="Web-{E9ED02E7-2BB3-450A-9F22-D30DC5F63A7D}" dt="2018-06-11T08:56:22.893" v="0"/>
          <ac:spMkLst>
            <pc:docMk/>
            <pc:sldMk cId="543148751" sldId="604"/>
            <ac:spMk id="2" creationId="{00000000-0000-0000-0000-000000000000}"/>
          </ac:spMkLst>
        </pc:spChg>
        <pc:spChg chg="del">
          <ac:chgData name="Daniel Spiers" userId="S::dasp1@hscic.gov.uk::a9c74899-53bb-4cb9-b8b6-43457e809e98" providerId="AD" clId="Web-{E9ED02E7-2BB3-450A-9F22-D30DC5F63A7D}" dt="2018-06-11T08:56:26.690" v="1"/>
          <ac:spMkLst>
            <pc:docMk/>
            <pc:sldMk cId="543148751" sldId="604"/>
            <ac:spMk id="3" creationId="{00000000-0000-0000-0000-000000000000}"/>
          </ac:spMkLst>
        </pc:spChg>
        <pc:spChg chg="add del mod">
          <ac:chgData name="Daniel Spiers" userId="S::dasp1@hscic.gov.uk::a9c74899-53bb-4cb9-b8b6-43457e809e98" providerId="AD" clId="Web-{E9ED02E7-2BB3-450A-9F22-D30DC5F63A7D}" dt="2018-06-11T08:56:29.471" v="2"/>
          <ac:spMkLst>
            <pc:docMk/>
            <pc:sldMk cId="543148751" sldId="604"/>
            <ac:spMk id="6" creationId="{20560602-4A2A-4012-90C3-2455B936BCDB}"/>
          </ac:spMkLst>
        </pc:spChg>
      </pc:sldChg>
    </pc:docChg>
  </pc:docChgLst>
  <pc:docChgLst>
    <pc:chgData name="Daniel Spiers" userId="S::dasp1@hscic.gov.uk::a9c74899-53bb-4cb9-b8b6-43457e809e98" providerId="AD" clId="Web-{7FA3978E-42C9-464C-8EDC-C3FD1B69A425}"/>
    <pc:docChg chg="modSld">
      <pc:chgData name="Daniel Spiers" userId="S::dasp1@hscic.gov.uk::a9c74899-53bb-4cb9-b8b6-43457e809e98" providerId="AD" clId="Web-{7FA3978E-42C9-464C-8EDC-C3FD1B69A425}" dt="2018-06-11T10:13:24.565" v="63" actId="14100"/>
      <pc:docMkLst>
        <pc:docMk/>
      </pc:docMkLst>
      <pc:sldChg chg="modSp">
        <pc:chgData name="Daniel Spiers" userId="S::dasp1@hscic.gov.uk::a9c74899-53bb-4cb9-b8b6-43457e809e98" providerId="AD" clId="Web-{7FA3978E-42C9-464C-8EDC-C3FD1B69A425}" dt="2018-06-11T10:13:24.565" v="63" actId="14100"/>
        <pc:sldMkLst>
          <pc:docMk/>
          <pc:sldMk cId="766482782" sldId="327"/>
        </pc:sldMkLst>
        <pc:spChg chg="mod">
          <ac:chgData name="Daniel Spiers" userId="S::dasp1@hscic.gov.uk::a9c74899-53bb-4cb9-b8b6-43457e809e98" providerId="AD" clId="Web-{7FA3978E-42C9-464C-8EDC-C3FD1B69A425}" dt="2018-06-11T10:13:24.565" v="63" actId="14100"/>
          <ac:spMkLst>
            <pc:docMk/>
            <pc:sldMk cId="766482782" sldId="327"/>
            <ac:spMk id="377" creationId="{00000000-0000-0000-0000-000000000000}"/>
          </ac:spMkLst>
        </pc:spChg>
        <pc:spChg chg="mod">
          <ac:chgData name="Daniel Spiers" userId="S::dasp1@hscic.gov.uk::a9c74899-53bb-4cb9-b8b6-43457e809e98" providerId="AD" clId="Web-{7FA3978E-42C9-464C-8EDC-C3FD1B69A425}" dt="2018-06-11T10:13:16.550" v="61" actId="20577"/>
          <ac:spMkLst>
            <pc:docMk/>
            <pc:sldMk cId="766482782" sldId="327"/>
            <ac:spMk id="378" creationId="{00000000-0000-0000-0000-000000000000}"/>
          </ac:spMkLst>
        </pc:spChg>
      </pc:sldChg>
      <pc:sldChg chg="addSp delSp modSp">
        <pc:chgData name="Daniel Spiers" userId="S::dasp1@hscic.gov.uk::a9c74899-53bb-4cb9-b8b6-43457e809e98" providerId="AD" clId="Web-{7FA3978E-42C9-464C-8EDC-C3FD1B69A425}" dt="2018-06-11T10:08:52.062" v="33" actId="20577"/>
        <pc:sldMkLst>
          <pc:docMk/>
          <pc:sldMk cId="1420977422" sldId="556"/>
        </pc:sldMkLst>
        <pc:spChg chg="add mod ord">
          <ac:chgData name="Daniel Spiers" userId="S::dasp1@hscic.gov.uk::a9c74899-53bb-4cb9-b8b6-43457e809e98" providerId="AD" clId="Web-{7FA3978E-42C9-464C-8EDC-C3FD1B69A425}" dt="2018-06-11T10:06:43.857" v="9" actId="14100"/>
          <ac:spMkLst>
            <pc:docMk/>
            <pc:sldMk cId="1420977422" sldId="556"/>
            <ac:spMk id="2" creationId="{415BAD51-6F38-49A7-9FD6-173FF7AA6DDC}"/>
          </ac:spMkLst>
        </pc:spChg>
        <pc:spChg chg="mod">
          <ac:chgData name="Daniel Spiers" userId="S::dasp1@hscic.gov.uk::a9c74899-53bb-4cb9-b8b6-43457e809e98" providerId="AD" clId="Web-{7FA3978E-42C9-464C-8EDC-C3FD1B69A425}" dt="2018-06-11T10:08:52.062" v="33" actId="20577"/>
          <ac:spMkLst>
            <pc:docMk/>
            <pc:sldMk cId="1420977422" sldId="556"/>
            <ac:spMk id="3" creationId="{00000000-0000-0000-0000-000000000000}"/>
          </ac:spMkLst>
        </pc:spChg>
        <pc:spChg chg="add del">
          <ac:chgData name="Daniel Spiers" userId="S::dasp1@hscic.gov.uk::a9c74899-53bb-4cb9-b8b6-43457e809e98" providerId="AD" clId="Web-{7FA3978E-42C9-464C-8EDC-C3FD1B69A425}" dt="2018-06-11T10:06:04.716" v="2" actId="20577"/>
          <ac:spMkLst>
            <pc:docMk/>
            <pc:sldMk cId="1420977422" sldId="556"/>
            <ac:spMk id="5" creationId="{27AD765B-DEF7-4552-950E-4A0BBED7CBE9}"/>
          </ac:spMkLst>
        </pc:spChg>
      </pc:sldChg>
      <pc:sldChg chg="modSp">
        <pc:chgData name="Daniel Spiers" userId="S::dasp1@hscic.gov.uk::a9c74899-53bb-4cb9-b8b6-43457e809e98" providerId="AD" clId="Web-{7FA3978E-42C9-464C-8EDC-C3FD1B69A425}" dt="2018-06-11T10:11:36.939" v="46" actId="20577"/>
        <pc:sldMkLst>
          <pc:docMk/>
          <pc:sldMk cId="1045018757" sldId="577"/>
        </pc:sldMkLst>
        <pc:spChg chg="mod">
          <ac:chgData name="Daniel Spiers" userId="S::dasp1@hscic.gov.uk::a9c74899-53bb-4cb9-b8b6-43457e809e98" providerId="AD" clId="Web-{7FA3978E-42C9-464C-8EDC-C3FD1B69A425}" dt="2018-06-11T10:11:36.939" v="46" actId="20577"/>
          <ac:spMkLst>
            <pc:docMk/>
            <pc:sldMk cId="1045018757" sldId="577"/>
            <ac:spMk id="8" creationId="{00000000-0000-0000-0000-000000000000}"/>
          </ac:spMkLst>
        </pc:spChg>
      </pc:sldChg>
      <pc:sldChg chg="modSp">
        <pc:chgData name="Daniel Spiers" userId="S::dasp1@hscic.gov.uk::a9c74899-53bb-4cb9-b8b6-43457e809e98" providerId="AD" clId="Web-{7FA3978E-42C9-464C-8EDC-C3FD1B69A425}" dt="2018-06-11T10:11:57.955" v="48" actId="20577"/>
        <pc:sldMkLst>
          <pc:docMk/>
          <pc:sldMk cId="765622178" sldId="594"/>
        </pc:sldMkLst>
        <pc:spChg chg="mod">
          <ac:chgData name="Daniel Spiers" userId="S::dasp1@hscic.gov.uk::a9c74899-53bb-4cb9-b8b6-43457e809e98" providerId="AD" clId="Web-{7FA3978E-42C9-464C-8EDC-C3FD1B69A425}" dt="2018-06-11T10:11:57.955" v="48" actId="20577"/>
          <ac:spMkLst>
            <pc:docMk/>
            <pc:sldMk cId="765622178" sldId="594"/>
            <ac:spMk id="2" creationId="{00000000-0000-0000-0000-000000000000}"/>
          </ac:spMkLst>
        </pc:spChg>
      </pc:sldChg>
      <pc:sldChg chg="modSp">
        <pc:chgData name="Daniel Spiers" userId="S::dasp1@hscic.gov.uk::a9c74899-53bb-4cb9-b8b6-43457e809e98" providerId="AD" clId="Web-{7FA3978E-42C9-464C-8EDC-C3FD1B69A425}" dt="2018-06-11T10:11:18.251" v="44" actId="20577"/>
        <pc:sldMkLst>
          <pc:docMk/>
          <pc:sldMk cId="2680284944" sldId="1019"/>
        </pc:sldMkLst>
        <pc:spChg chg="mod">
          <ac:chgData name="Daniel Spiers" userId="S::dasp1@hscic.gov.uk::a9c74899-53bb-4cb9-b8b6-43457e809e98" providerId="AD" clId="Web-{7FA3978E-42C9-464C-8EDC-C3FD1B69A425}" dt="2018-06-11T10:11:18.251" v="44" actId="20577"/>
          <ac:spMkLst>
            <pc:docMk/>
            <pc:sldMk cId="2680284944" sldId="1019"/>
            <ac:spMk id="6" creationId="{97F4C475-6A16-456B-B118-80CEC03DD1D4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400" cy="496888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r">
              <a:defRPr sz="1200"/>
            </a:lvl1pPr>
          </a:lstStyle>
          <a:p>
            <a:fld id="{239B4765-A133-4BBE-AAB0-442DBD41A55E}" type="datetimeFigureOut">
              <a:rPr lang="en-GB" smtClean="0"/>
              <a:t>15/06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163"/>
            <a:ext cx="2946400" cy="496887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r">
              <a:defRPr sz="1200"/>
            </a:lvl1pPr>
          </a:lstStyle>
          <a:p>
            <a:fld id="{B7B9907A-72EF-4AD4-9791-159CFE3DDF1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17776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r">
              <a:defRPr sz="1200"/>
            </a:lvl1pPr>
          </a:lstStyle>
          <a:p>
            <a:fld id="{ADB2BA8F-77E7-4D74-8429-FEA15301A487}" type="datetimeFigureOut">
              <a:rPr lang="en-GB" smtClean="0"/>
              <a:t>15/06/2018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0" tIns="45716" rIns="91430" bIns="45716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30" tIns="45716" rIns="91430" bIns="4571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r">
              <a:defRPr sz="1200"/>
            </a:lvl1pPr>
          </a:lstStyle>
          <a:p>
            <a:fld id="{573BD2BE-0D39-469E-8B13-E83FE0E0A27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82696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3BD2BE-0D39-469E-8B13-E83FE0E0A27D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202544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3BD2BE-0D39-469E-8B13-E83FE0E0A27D}" type="slidenum">
              <a:rPr lang="en-GB" smtClean="0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18910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2755">
              <a:defRPr/>
            </a:pPr>
            <a:endParaRPr lang="en-GB" dirty="0"/>
          </a:p>
          <a:p>
            <a:pPr rtl="0"/>
            <a:endParaRPr lang="en-GB" dirty="0"/>
          </a:p>
          <a:p>
            <a:r>
              <a:rPr lang="en-GB" sz="1600" dirty="0"/>
              <a:t/>
            </a:r>
            <a:br>
              <a:rPr lang="en-GB" sz="1600" dirty="0"/>
            </a:br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E8C18A-1E48-48B6-ABDD-246AB48D8F5C}" type="slidenum">
              <a:rPr lang="en-GB" smtClean="0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31860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2755">
              <a:defRPr/>
            </a:pPr>
            <a:endParaRPr lang="en-GB" dirty="0"/>
          </a:p>
          <a:p>
            <a:pPr rtl="0"/>
            <a:endParaRPr lang="en-GB" dirty="0"/>
          </a:p>
          <a:p>
            <a:r>
              <a:rPr lang="en-GB" sz="1600" dirty="0"/>
              <a:t/>
            </a:r>
            <a:br>
              <a:rPr lang="en-GB" sz="1600" dirty="0"/>
            </a:br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E8C18A-1E48-48B6-ABDD-246AB48D8F5C}" type="slidenum">
              <a:rPr lang="en-GB" smtClean="0"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62379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1" name="Slide Image Placeholder 1">
            <a:extLst>
              <a:ext uri="{FF2B5EF4-FFF2-40B4-BE49-F238E27FC236}">
                <a16:creationId xmlns:a16="http://schemas.microsoft.com/office/drawing/2014/main" xmlns="" id="{A65D1198-92FD-44BF-96CA-E383460D52A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682" name="Notes Placeholder 2">
            <a:extLst>
              <a:ext uri="{FF2B5EF4-FFF2-40B4-BE49-F238E27FC236}">
                <a16:creationId xmlns:a16="http://schemas.microsoft.com/office/drawing/2014/main" xmlns="" id="{D10C7B8B-933C-4A36-A30C-C4192C8636F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12937">
              <a:spcBef>
                <a:spcPct val="0"/>
              </a:spcBef>
              <a:defRPr/>
            </a:pPr>
            <a:endParaRPr lang="en-US" altLang="en-US" dirty="0"/>
          </a:p>
        </p:txBody>
      </p:sp>
      <p:sp>
        <p:nvSpPr>
          <p:cNvPr id="71683" name="Slide Number Placeholder 3">
            <a:extLst>
              <a:ext uri="{FF2B5EF4-FFF2-40B4-BE49-F238E27FC236}">
                <a16:creationId xmlns:a16="http://schemas.microsoft.com/office/drawing/2014/main" xmlns="" id="{C8DC1F29-4628-498F-A0B2-C6DC3E9FAC4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1761" indent="-28529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1171" indent="-228234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97640" indent="-228234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4108" indent="-228234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0577" indent="-228234" defTabSz="91135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67045" indent="-228234" defTabSz="91135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3514" indent="-228234" defTabSz="91135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79982" indent="-228234" defTabSz="91135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1352" fontAlgn="base">
              <a:spcBef>
                <a:spcPct val="0"/>
              </a:spcBef>
              <a:spcAft>
                <a:spcPct val="0"/>
              </a:spcAft>
            </a:pPr>
            <a:fld id="{1BAC0BB8-5AE0-4BEF-82CF-8EA5D6BA1A0B}" type="slidenum">
              <a:rPr lang="en-GB" altLang="en-US" smtClean="0">
                <a:latin typeface="Calibri" panose="020F0502020204030204" pitchFamily="34" charset="0"/>
              </a:rPr>
              <a:pPr defTabSz="911352"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GB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00443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Shape 81"/>
          <p:cNvSpPr>
            <a:spLocks noGrp="1" noRot="1" noChangeAspect="1"/>
          </p:cNvSpPr>
          <p:nvPr>
            <p:ph type="sldImg" idx="2"/>
          </p:nvPr>
        </p:nvSpPr>
        <p:spPr>
          <a:xfrm>
            <a:off x="112713" y="738188"/>
            <a:ext cx="6561137" cy="369093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2" name="Shape 82"/>
          <p:cNvSpPr txBox="1">
            <a:spLocks noGrp="1"/>
          </p:cNvSpPr>
          <p:nvPr>
            <p:ph type="body" idx="1"/>
          </p:nvPr>
        </p:nvSpPr>
        <p:spPr>
          <a:xfrm>
            <a:off x="678659" y="4675245"/>
            <a:ext cx="5429224" cy="4429125"/>
          </a:xfrm>
          <a:prstGeom prst="rect">
            <a:avLst/>
          </a:prstGeom>
        </p:spPr>
        <p:txBody>
          <a:bodyPr spcFirstLastPara="1" wrap="square" lIns="91279" tIns="91279" rIns="91279" bIns="91279" anchor="t" anchorCtr="0">
            <a:noAutofit/>
          </a:bodyPr>
          <a:lstStyle/>
          <a:p>
            <a:endParaRPr dirty="0"/>
          </a:p>
        </p:txBody>
      </p:sp>
      <p:sp>
        <p:nvSpPr>
          <p:cNvPr id="83" name="Shape 83"/>
          <p:cNvSpPr txBox="1">
            <a:spLocks noGrp="1"/>
          </p:cNvSpPr>
          <p:nvPr>
            <p:ph type="sldNum" idx="12"/>
          </p:nvPr>
        </p:nvSpPr>
        <p:spPr>
          <a:xfrm>
            <a:off x="3844159" y="9348782"/>
            <a:ext cx="2940892" cy="491892"/>
          </a:xfrm>
          <a:prstGeom prst="rect">
            <a:avLst/>
          </a:prstGeom>
        </p:spPr>
        <p:txBody>
          <a:bodyPr spcFirstLastPara="1" wrap="square" lIns="91279" tIns="45627" rIns="91279" bIns="45627" anchor="b" anchorCtr="0">
            <a:noAutofit/>
          </a:bodyPr>
          <a:lstStyle/>
          <a:p>
            <a:fld id="{00000000-1234-1234-1234-123412341234}" type="slidenum">
              <a:rPr lang="en-US"/>
              <a:pPr/>
              <a:t>15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194309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3BD2BE-0D39-469E-8B13-E83FE0E0A27D}" type="slidenum">
              <a:rPr lang="en-GB" smtClean="0">
                <a:solidFill>
                  <a:prstClr val="black"/>
                </a:solidFill>
              </a:rPr>
              <a:pPr/>
              <a:t>16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10274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Shape 217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4213"/>
            <a:ext cx="6084888" cy="342423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8" name="Shape 218"/>
          <p:cNvSpPr txBox="1">
            <a:spLocks noGrp="1"/>
          </p:cNvSpPr>
          <p:nvPr>
            <p:ph type="body" idx="1"/>
          </p:nvPr>
        </p:nvSpPr>
        <p:spPr>
          <a:xfrm>
            <a:off x="684681" y="4337158"/>
            <a:ext cx="5477445" cy="4108886"/>
          </a:xfrm>
          <a:prstGeom prst="rect">
            <a:avLst/>
          </a:prstGeom>
        </p:spPr>
        <p:txBody>
          <a:bodyPr spcFirstLastPara="1" wrap="square" lIns="91279" tIns="91279" rIns="91279" bIns="91279" anchor="t" anchorCtr="0">
            <a:noAutofit/>
          </a:bodyPr>
          <a:lstStyle/>
          <a:p>
            <a:pPr defTabSz="912937"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11233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Shape 224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4213"/>
            <a:ext cx="6084888" cy="342423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5" name="Shape 225"/>
          <p:cNvSpPr txBox="1">
            <a:spLocks noGrp="1"/>
          </p:cNvSpPr>
          <p:nvPr>
            <p:ph type="body" idx="1"/>
          </p:nvPr>
        </p:nvSpPr>
        <p:spPr>
          <a:xfrm>
            <a:off x="684681" y="4337158"/>
            <a:ext cx="5477445" cy="4108886"/>
          </a:xfrm>
          <a:prstGeom prst="rect">
            <a:avLst/>
          </a:prstGeom>
        </p:spPr>
        <p:txBody>
          <a:bodyPr spcFirstLastPara="1" wrap="square" lIns="91279" tIns="91279" rIns="91279" bIns="91279" anchor="t" anchorCtr="0">
            <a:noAutofit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9454225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Shape 224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4213"/>
            <a:ext cx="6084888" cy="342423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5" name="Shape 225"/>
          <p:cNvSpPr txBox="1">
            <a:spLocks noGrp="1"/>
          </p:cNvSpPr>
          <p:nvPr>
            <p:ph type="body" idx="1"/>
          </p:nvPr>
        </p:nvSpPr>
        <p:spPr>
          <a:xfrm>
            <a:off x="684681" y="4337158"/>
            <a:ext cx="5477445" cy="4108886"/>
          </a:xfrm>
          <a:prstGeom prst="rect">
            <a:avLst/>
          </a:prstGeom>
        </p:spPr>
        <p:txBody>
          <a:bodyPr spcFirstLastPara="1" wrap="square" lIns="91279" tIns="91279" rIns="91279" bIns="91279" anchor="t" anchorCtr="0">
            <a:noAutofit/>
          </a:bodyPr>
          <a:lstStyle/>
          <a:p>
            <a:endParaRPr lang="en-GB" dirty="0"/>
          </a:p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547725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Shape 232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4213"/>
            <a:ext cx="6084888" cy="342423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3" name="Shape 233"/>
          <p:cNvSpPr txBox="1">
            <a:spLocks noGrp="1"/>
          </p:cNvSpPr>
          <p:nvPr>
            <p:ph type="body" idx="1"/>
          </p:nvPr>
        </p:nvSpPr>
        <p:spPr>
          <a:xfrm>
            <a:off x="684681" y="4337158"/>
            <a:ext cx="5477445" cy="4108886"/>
          </a:xfrm>
          <a:prstGeom prst="rect">
            <a:avLst/>
          </a:prstGeom>
        </p:spPr>
        <p:txBody>
          <a:bodyPr spcFirstLastPara="1" wrap="square" lIns="91279" tIns="91279" rIns="91279" bIns="91279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234435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3BD2BE-0D39-469E-8B13-E83FE0E0A27D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242392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E8C18A-1E48-48B6-ABDD-246AB48D8F5C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183445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Shape 94"/>
          <p:cNvSpPr>
            <a:spLocks noGrp="1" noRot="1" noChangeAspect="1"/>
          </p:cNvSpPr>
          <p:nvPr>
            <p:ph type="sldImg" idx="2"/>
          </p:nvPr>
        </p:nvSpPr>
        <p:spPr>
          <a:xfrm>
            <a:off x="112713" y="738188"/>
            <a:ext cx="6561137" cy="369093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5" name="Shape 95"/>
          <p:cNvSpPr txBox="1">
            <a:spLocks noGrp="1"/>
          </p:cNvSpPr>
          <p:nvPr>
            <p:ph type="body" idx="1"/>
          </p:nvPr>
        </p:nvSpPr>
        <p:spPr>
          <a:xfrm>
            <a:off x="678659" y="4675245"/>
            <a:ext cx="5429224" cy="4429125"/>
          </a:xfrm>
          <a:prstGeom prst="rect">
            <a:avLst/>
          </a:prstGeom>
        </p:spPr>
        <p:txBody>
          <a:bodyPr spcFirstLastPara="1" wrap="square" lIns="91279" tIns="91279" rIns="91279" bIns="91279" anchor="t" anchorCtr="0">
            <a:noAutofit/>
          </a:bodyPr>
          <a:lstStyle/>
          <a:p>
            <a:endParaRPr lang="en-GB" dirty="0"/>
          </a:p>
          <a:p>
            <a:endParaRPr lang="en-GB" dirty="0"/>
          </a:p>
        </p:txBody>
      </p:sp>
      <p:sp>
        <p:nvSpPr>
          <p:cNvPr id="96" name="Shape 96"/>
          <p:cNvSpPr txBox="1">
            <a:spLocks noGrp="1"/>
          </p:cNvSpPr>
          <p:nvPr>
            <p:ph type="sldNum" idx="12"/>
          </p:nvPr>
        </p:nvSpPr>
        <p:spPr>
          <a:xfrm>
            <a:off x="3844159" y="9348782"/>
            <a:ext cx="2940892" cy="491892"/>
          </a:xfrm>
          <a:prstGeom prst="rect">
            <a:avLst/>
          </a:prstGeom>
        </p:spPr>
        <p:txBody>
          <a:bodyPr spcFirstLastPara="1" wrap="square" lIns="91279" tIns="45627" rIns="91279" bIns="45627" anchor="b" anchorCtr="0">
            <a:noAutofit/>
          </a:bodyPr>
          <a:lstStyle/>
          <a:p>
            <a:pPr algn="l" defTabSz="912937">
              <a:defRPr/>
            </a:pPr>
            <a:fld id="{00000000-1234-1234-1234-123412341234}" type="slidenum">
              <a:rPr lang="en-US" sz="14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pPr algn="l" defTabSz="912937">
                <a:defRPr/>
              </a:pPr>
              <a:t>22</a:t>
            </a:fld>
            <a:endParaRPr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0534556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Shape 83"/>
          <p:cNvSpPr>
            <a:spLocks noGrp="1" noRot="1" noChangeAspect="1"/>
          </p:cNvSpPr>
          <p:nvPr>
            <p:ph type="sldImg" idx="2"/>
          </p:nvPr>
        </p:nvSpPr>
        <p:spPr>
          <a:xfrm>
            <a:off x="112713" y="738188"/>
            <a:ext cx="6561137" cy="369093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4" name="Shape 84"/>
          <p:cNvSpPr txBox="1">
            <a:spLocks noGrp="1"/>
          </p:cNvSpPr>
          <p:nvPr>
            <p:ph type="body" idx="1"/>
          </p:nvPr>
        </p:nvSpPr>
        <p:spPr>
          <a:xfrm>
            <a:off x="678659" y="4675245"/>
            <a:ext cx="5429224" cy="4429125"/>
          </a:xfrm>
          <a:prstGeom prst="rect">
            <a:avLst/>
          </a:prstGeom>
        </p:spPr>
        <p:txBody>
          <a:bodyPr spcFirstLastPara="1" wrap="square" lIns="91279" tIns="91279" rIns="91279" bIns="91279" anchor="t" anchorCtr="0">
            <a:noAutofit/>
          </a:bodyPr>
          <a:lstStyle/>
          <a:p>
            <a:pPr marL="79882" defTabSz="912937">
              <a:spcAft>
                <a:spcPts val="270"/>
              </a:spcAft>
              <a:defRPr/>
            </a:pPr>
            <a:endParaRPr lang="en-US" dirty="0"/>
          </a:p>
          <a:p>
            <a:pPr marL="79882">
              <a:spcAft>
                <a:spcPts val="270"/>
              </a:spcAft>
            </a:pPr>
            <a:endParaRPr lang="en-GB" b="1" dirty="0"/>
          </a:p>
          <a:p>
            <a:endParaRPr b="1" dirty="0"/>
          </a:p>
        </p:txBody>
      </p:sp>
      <p:sp>
        <p:nvSpPr>
          <p:cNvPr id="85" name="Shape 85"/>
          <p:cNvSpPr txBox="1">
            <a:spLocks noGrp="1"/>
          </p:cNvSpPr>
          <p:nvPr>
            <p:ph type="sldNum" idx="12"/>
          </p:nvPr>
        </p:nvSpPr>
        <p:spPr>
          <a:xfrm>
            <a:off x="3844159" y="9348782"/>
            <a:ext cx="2940892" cy="491892"/>
          </a:xfrm>
          <a:prstGeom prst="rect">
            <a:avLst/>
          </a:prstGeom>
        </p:spPr>
        <p:txBody>
          <a:bodyPr spcFirstLastPara="1" wrap="square" lIns="91279" tIns="45627" rIns="91279" bIns="45627" anchor="b" anchorCtr="0">
            <a:noAutofit/>
          </a:bodyPr>
          <a:lstStyle/>
          <a:p>
            <a:pPr algn="l" defTabSz="912937">
              <a:buClr>
                <a:srgbClr val="000000"/>
              </a:buClr>
              <a:defRPr/>
            </a:pPr>
            <a:fld id="{00000000-1234-1234-1234-123412341234}" type="slidenum">
              <a:rPr lang="en-US" sz="14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pPr algn="l" defTabSz="912937">
                <a:buClr>
                  <a:srgbClr val="000000"/>
                </a:buClr>
                <a:defRPr/>
              </a:pPr>
              <a:t>23</a:t>
            </a:fld>
            <a:endParaRPr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0950018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Shape 81"/>
          <p:cNvSpPr>
            <a:spLocks noGrp="1" noRot="1" noChangeAspect="1"/>
          </p:cNvSpPr>
          <p:nvPr>
            <p:ph type="sldImg" idx="2"/>
          </p:nvPr>
        </p:nvSpPr>
        <p:spPr>
          <a:xfrm>
            <a:off x="112713" y="738188"/>
            <a:ext cx="6561137" cy="369093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2" name="Shape 82"/>
          <p:cNvSpPr txBox="1">
            <a:spLocks noGrp="1"/>
          </p:cNvSpPr>
          <p:nvPr>
            <p:ph type="body" idx="1"/>
          </p:nvPr>
        </p:nvSpPr>
        <p:spPr>
          <a:xfrm>
            <a:off x="678659" y="4675245"/>
            <a:ext cx="5429224" cy="4429125"/>
          </a:xfrm>
          <a:prstGeom prst="rect">
            <a:avLst/>
          </a:prstGeom>
        </p:spPr>
        <p:txBody>
          <a:bodyPr spcFirstLastPara="1" wrap="square" lIns="91279" tIns="91279" rIns="91279" bIns="91279" anchor="t" anchorCtr="0">
            <a:noAutofit/>
          </a:bodyPr>
          <a:lstStyle/>
          <a:p>
            <a:pPr defTabSz="912937">
              <a:defRPr/>
            </a:pPr>
            <a:endParaRPr lang="en-GB" dirty="0"/>
          </a:p>
          <a:p>
            <a:pPr defTabSz="912937">
              <a:defRPr/>
            </a:pPr>
            <a:endParaRPr lang="en-GB" dirty="0"/>
          </a:p>
          <a:p>
            <a:pPr defTabSz="912937">
              <a:defRPr/>
            </a:pPr>
            <a:endParaRPr lang="en-GB" dirty="0"/>
          </a:p>
          <a:p>
            <a:endParaRPr dirty="0"/>
          </a:p>
        </p:txBody>
      </p:sp>
      <p:sp>
        <p:nvSpPr>
          <p:cNvPr id="83" name="Shape 83"/>
          <p:cNvSpPr txBox="1">
            <a:spLocks noGrp="1"/>
          </p:cNvSpPr>
          <p:nvPr>
            <p:ph type="sldNum" idx="12"/>
          </p:nvPr>
        </p:nvSpPr>
        <p:spPr>
          <a:xfrm>
            <a:off x="3844159" y="9348782"/>
            <a:ext cx="2940892" cy="491892"/>
          </a:xfrm>
          <a:prstGeom prst="rect">
            <a:avLst/>
          </a:prstGeom>
        </p:spPr>
        <p:txBody>
          <a:bodyPr spcFirstLastPara="1" wrap="square" lIns="91279" tIns="45627" rIns="91279" bIns="45627" anchor="b" anchorCtr="0">
            <a:noAutofit/>
          </a:bodyPr>
          <a:lstStyle/>
          <a:p>
            <a:fld id="{00000000-1234-1234-1234-123412341234}" type="slidenum">
              <a:rPr lang="en-US"/>
              <a:pPr/>
              <a:t>24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7879611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3BD2BE-0D39-469E-8B13-E83FE0E0A27D}" type="slidenum">
              <a:rPr lang="en-GB" smtClean="0"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230324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00000000-1234-1234-1234-123412341234}" type="slidenum">
              <a:rPr lang="en-GB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/>
              <a:t>26</a:t>
            </a:fld>
            <a:endParaRPr lang="en-GB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2946527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defTabSz="912937">
              <a:defRPr/>
            </a:pPr>
            <a:fld id="{00000000-1234-1234-1234-123412341234}" type="slidenum">
              <a:rPr lang="en-GB" ker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pPr defTabSz="912937">
                <a:defRPr/>
              </a:pPr>
              <a:t>27</a:t>
            </a:fld>
            <a:endParaRPr lang="en-GB"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3037412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defTabSz="912937">
              <a:defRPr/>
            </a:pPr>
            <a:fld id="{00000000-1234-1234-1234-123412341234}" type="slidenum">
              <a:rPr lang="en-GB" ker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pPr defTabSz="912937">
                <a:defRPr/>
              </a:pPr>
              <a:t>28</a:t>
            </a:fld>
            <a:endParaRPr lang="en-GB"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1396539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00000000-1234-1234-1234-123412341234}" type="slidenum">
              <a:rPr lang="en-GB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/>
              <a:t>29</a:t>
            </a:fld>
            <a:endParaRPr lang="en-GB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2252343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defTabSz="912937">
              <a:defRPr/>
            </a:pPr>
            <a:fld id="{00000000-1234-1234-1234-123412341234}" type="slidenum">
              <a:rPr lang="en-GB" ker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pPr defTabSz="912937">
                <a:defRPr/>
              </a:pPr>
              <a:t>30</a:t>
            </a:fld>
            <a:endParaRPr lang="en-GB" kern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311021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3BD2BE-0D39-469E-8B13-E83FE0E0A27D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019403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00000000-1234-1234-1234-123412341234}" type="slidenum">
              <a:rPr lang="en-GB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/>
              <a:t>31</a:t>
            </a:fld>
            <a:endParaRPr lang="en-GB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0178283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Shape 81"/>
          <p:cNvSpPr>
            <a:spLocks noGrp="1" noRot="1" noChangeAspect="1"/>
          </p:cNvSpPr>
          <p:nvPr>
            <p:ph type="sldImg" idx="2"/>
          </p:nvPr>
        </p:nvSpPr>
        <p:spPr>
          <a:xfrm>
            <a:off x="112713" y="738188"/>
            <a:ext cx="6561137" cy="369093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2" name="Shape 82"/>
          <p:cNvSpPr txBox="1">
            <a:spLocks noGrp="1"/>
          </p:cNvSpPr>
          <p:nvPr>
            <p:ph type="body" idx="1"/>
          </p:nvPr>
        </p:nvSpPr>
        <p:spPr>
          <a:xfrm>
            <a:off x="678659" y="4675245"/>
            <a:ext cx="5429224" cy="4429125"/>
          </a:xfrm>
          <a:prstGeom prst="rect">
            <a:avLst/>
          </a:prstGeom>
        </p:spPr>
        <p:txBody>
          <a:bodyPr spcFirstLastPara="1" wrap="square" lIns="91279" tIns="91279" rIns="91279" bIns="91279" anchor="t" anchorCtr="0">
            <a:noAutofit/>
          </a:bodyPr>
          <a:lstStyle/>
          <a:p>
            <a:endParaRPr dirty="0"/>
          </a:p>
        </p:txBody>
      </p:sp>
      <p:sp>
        <p:nvSpPr>
          <p:cNvPr id="83" name="Shape 83"/>
          <p:cNvSpPr txBox="1">
            <a:spLocks noGrp="1"/>
          </p:cNvSpPr>
          <p:nvPr>
            <p:ph type="sldNum" idx="12"/>
          </p:nvPr>
        </p:nvSpPr>
        <p:spPr>
          <a:xfrm>
            <a:off x="3844159" y="9348782"/>
            <a:ext cx="2940892" cy="491892"/>
          </a:xfrm>
          <a:prstGeom prst="rect">
            <a:avLst/>
          </a:prstGeom>
        </p:spPr>
        <p:txBody>
          <a:bodyPr spcFirstLastPara="1" wrap="square" lIns="91279" tIns="45627" rIns="91279" bIns="45627" anchor="b" anchorCtr="0">
            <a:noAutofit/>
          </a:bodyPr>
          <a:lstStyle/>
          <a:p>
            <a:fld id="{00000000-1234-1234-1234-123412341234}" type="slidenum">
              <a:rPr lang="en-US"/>
              <a:pPr/>
              <a:t>32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1860598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3BD2BE-0D39-469E-8B13-E83FE0E0A27D}" type="slidenum">
              <a:rPr lang="en-GB" smtClean="0"/>
              <a:t>3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767979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Shape 81"/>
          <p:cNvSpPr>
            <a:spLocks noGrp="1" noRot="1" noChangeAspect="1"/>
          </p:cNvSpPr>
          <p:nvPr>
            <p:ph type="sldImg" idx="2"/>
          </p:nvPr>
        </p:nvSpPr>
        <p:spPr>
          <a:xfrm>
            <a:off x="112713" y="738188"/>
            <a:ext cx="6561137" cy="369093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2" name="Shape 82"/>
          <p:cNvSpPr txBox="1">
            <a:spLocks noGrp="1"/>
          </p:cNvSpPr>
          <p:nvPr>
            <p:ph type="body" idx="1"/>
          </p:nvPr>
        </p:nvSpPr>
        <p:spPr>
          <a:xfrm>
            <a:off x="678659" y="4675245"/>
            <a:ext cx="5429224" cy="4429125"/>
          </a:xfrm>
          <a:prstGeom prst="rect">
            <a:avLst/>
          </a:prstGeom>
        </p:spPr>
        <p:txBody>
          <a:bodyPr spcFirstLastPara="1" wrap="square" lIns="91279" tIns="91279" rIns="91279" bIns="91279" anchor="t" anchorCtr="0">
            <a:noAutofit/>
          </a:bodyPr>
          <a:lstStyle/>
          <a:p>
            <a:pPr defTabSz="912937">
              <a:defRPr/>
            </a:pPr>
            <a:endParaRPr lang="en-GB" dirty="0">
              <a:solidFill>
                <a:prstClr val="black"/>
              </a:solidFill>
            </a:endParaRPr>
          </a:p>
          <a:p>
            <a:pPr defTabSz="912937">
              <a:defRPr/>
            </a:pPr>
            <a:endParaRPr lang="en-GB" dirty="0">
              <a:solidFill>
                <a:prstClr val="black"/>
              </a:solidFill>
            </a:endParaRPr>
          </a:p>
          <a:p>
            <a:endParaRPr dirty="0"/>
          </a:p>
        </p:txBody>
      </p:sp>
      <p:sp>
        <p:nvSpPr>
          <p:cNvPr id="83" name="Shape 83"/>
          <p:cNvSpPr txBox="1">
            <a:spLocks noGrp="1"/>
          </p:cNvSpPr>
          <p:nvPr>
            <p:ph type="sldNum" idx="12"/>
          </p:nvPr>
        </p:nvSpPr>
        <p:spPr>
          <a:xfrm>
            <a:off x="3844159" y="9348782"/>
            <a:ext cx="2940892" cy="491892"/>
          </a:xfrm>
          <a:prstGeom prst="rect">
            <a:avLst/>
          </a:prstGeom>
        </p:spPr>
        <p:txBody>
          <a:bodyPr spcFirstLastPara="1" wrap="square" lIns="91279" tIns="45627" rIns="91279" bIns="45627" anchor="b" anchorCtr="0">
            <a:noAutofit/>
          </a:bodyPr>
          <a:lstStyle/>
          <a:p>
            <a:fld id="{00000000-1234-1234-1234-123412341234}" type="slidenum">
              <a:rPr lang="en-US"/>
              <a:pPr/>
              <a:t>34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0669722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3BD2BE-0D39-469E-8B13-E83FE0E0A27D}" type="slidenum">
              <a:rPr lang="en-GB" smtClean="0">
                <a:solidFill>
                  <a:prstClr val="black"/>
                </a:solidFill>
              </a:rPr>
              <a:pPr/>
              <a:t>35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9292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3BD2BE-0D39-469E-8B13-E83FE0E0A27D}" type="slidenum">
              <a:rPr lang="en-GB" smtClean="0">
                <a:solidFill>
                  <a:prstClr val="black"/>
                </a:solidFill>
              </a:rPr>
              <a:pPr/>
              <a:t>36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297346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3BD2BE-0D39-469E-8B13-E83FE0E0A27D}" type="slidenum">
              <a:rPr lang="en-GB" smtClean="0">
                <a:solidFill>
                  <a:prstClr val="black"/>
                </a:solidFill>
              </a:rPr>
              <a:pPr/>
              <a:t>37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53050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3BD2BE-0D39-469E-8B13-E83FE0E0A27D}" type="slidenum">
              <a:rPr lang="en-GB" smtClean="0">
                <a:solidFill>
                  <a:prstClr val="black"/>
                </a:solidFill>
              </a:rPr>
              <a:pPr/>
              <a:t>5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00123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176" indent="-171176" defTabSz="912937">
              <a:buFont typeface="Arial" pitchFamily="34" charset="0"/>
              <a:buChar char="•"/>
              <a:defRPr/>
            </a:pPr>
            <a:endParaRPr lang="en-US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  <a:p>
            <a:pPr marL="171176" indent="-171176" defTabSz="912937">
              <a:buFont typeface="Arial" pitchFamily="34" charset="0"/>
              <a:buChar char="•"/>
              <a:defRPr/>
            </a:pPr>
            <a:endParaRPr lang="en-US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  <a:p>
            <a:pPr marL="171176" indent="-171176" defTabSz="912937">
              <a:buFont typeface="Arial" pitchFamily="34" charset="0"/>
              <a:buChar char="•"/>
              <a:defRPr/>
            </a:pPr>
            <a:endParaRPr lang="en-US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  <a:p>
            <a:pPr marL="171176" indent="-171176">
              <a:buFont typeface="Arial" pitchFamily="34" charset="0"/>
              <a:buChar char="•"/>
            </a:pPr>
            <a:endParaRPr lang="en-GB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3BD2BE-0D39-469E-8B13-E83FE0E0A27D}" type="slidenum">
              <a:rPr lang="en-GB" smtClean="0">
                <a:solidFill>
                  <a:prstClr val="black"/>
                </a:solidFill>
              </a:rPr>
              <a:pPr/>
              <a:t>6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87231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2937">
              <a:defRPr/>
            </a:pPr>
            <a:endParaRPr lang="en-US" dirty="0">
              <a:solidFill>
                <a:schemeClr val="accent6"/>
              </a:solidFill>
            </a:endParaRPr>
          </a:p>
          <a:p>
            <a:pPr defTabSz="912937">
              <a:defRPr/>
            </a:pP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3BD2BE-0D39-469E-8B13-E83FE0E0A27D}" type="slidenum">
              <a:rPr lang="en-GB" smtClean="0">
                <a:solidFill>
                  <a:prstClr val="black"/>
                </a:solidFill>
              </a:rPr>
              <a:pPr/>
              <a:t>7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57047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Shape 81"/>
          <p:cNvSpPr>
            <a:spLocks noGrp="1" noRot="1" noChangeAspect="1"/>
          </p:cNvSpPr>
          <p:nvPr>
            <p:ph type="sldImg" idx="2"/>
          </p:nvPr>
        </p:nvSpPr>
        <p:spPr>
          <a:xfrm>
            <a:off x="112713" y="738188"/>
            <a:ext cx="6561137" cy="369093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2" name="Shape 82"/>
          <p:cNvSpPr txBox="1">
            <a:spLocks noGrp="1"/>
          </p:cNvSpPr>
          <p:nvPr>
            <p:ph type="body" idx="1"/>
          </p:nvPr>
        </p:nvSpPr>
        <p:spPr>
          <a:xfrm>
            <a:off x="678659" y="4675245"/>
            <a:ext cx="5429224" cy="4429125"/>
          </a:xfrm>
          <a:prstGeom prst="rect">
            <a:avLst/>
          </a:prstGeom>
        </p:spPr>
        <p:txBody>
          <a:bodyPr spcFirstLastPara="1" wrap="square" lIns="91279" tIns="91279" rIns="91279" bIns="91279" anchor="t" anchorCtr="0">
            <a:noAutofit/>
          </a:bodyPr>
          <a:lstStyle/>
          <a:p>
            <a:endParaRPr dirty="0"/>
          </a:p>
        </p:txBody>
      </p:sp>
      <p:sp>
        <p:nvSpPr>
          <p:cNvPr id="83" name="Shape 83"/>
          <p:cNvSpPr txBox="1">
            <a:spLocks noGrp="1"/>
          </p:cNvSpPr>
          <p:nvPr>
            <p:ph type="sldNum" idx="12"/>
          </p:nvPr>
        </p:nvSpPr>
        <p:spPr>
          <a:xfrm>
            <a:off x="3844159" y="9348782"/>
            <a:ext cx="2940892" cy="491892"/>
          </a:xfrm>
          <a:prstGeom prst="rect">
            <a:avLst/>
          </a:prstGeom>
        </p:spPr>
        <p:txBody>
          <a:bodyPr spcFirstLastPara="1" wrap="square" lIns="91279" tIns="45627" rIns="91279" bIns="45627" anchor="b" anchorCtr="0">
            <a:noAutofit/>
          </a:bodyPr>
          <a:lstStyle/>
          <a:p>
            <a:fld id="{00000000-1234-1234-1234-123412341234}" type="slidenum">
              <a:rPr lang="en-US"/>
              <a:pPr/>
              <a:t>8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550992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2937">
              <a:defRPr/>
            </a:pP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3BD2BE-0D39-469E-8B13-E83FE0E0A27D}" type="slidenum">
              <a:rPr lang="en-GB" smtClean="0">
                <a:solidFill>
                  <a:prstClr val="black"/>
                </a:solidFill>
              </a:rPr>
              <a:pPr/>
              <a:t>9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69712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3BD2BE-0D39-469E-8B13-E83FE0E0A27D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2025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lideshare.net/hscic" TargetMode="External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.jpe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9.gif"/><Relationship Id="rId4" Type="http://schemas.openxmlformats.org/officeDocument/2006/relationships/oleObject" Target="../embeddings/oleObject2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439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4356000"/>
            <a:ext cx="9144000" cy="79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0000" y="1728000"/>
            <a:ext cx="6660312" cy="483558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3000" b="1" spc="-4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heading in 30pt Arial Bold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2268000"/>
            <a:ext cx="6660312" cy="444553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2100" b="1">
                <a:solidFill>
                  <a:srgbClr val="FAE100"/>
                </a:solidFill>
              </a:defRPr>
            </a:lvl1pPr>
          </a:lstStyle>
          <a:p>
            <a:r>
              <a:rPr lang="en-US" dirty="0"/>
              <a:t>Subheading in 21pt Arial Bold</a:t>
            </a:r>
            <a:endParaRPr lang="en-GB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644008" y="4464000"/>
            <a:ext cx="3924008" cy="540000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15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Presented by… in 15pt Arial Bold</a:t>
            </a:r>
            <a:endParaRPr lang="en-GB" dirty="0"/>
          </a:p>
        </p:txBody>
      </p:sp>
      <p:pic>
        <p:nvPicPr>
          <p:cNvPr id="13" name="Picture 2" descr="C:\Users\DShaplan\AppData\Local\Temp\Rar$DIa0.409\NHS 10mm - RGB Blue on white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4805" y="379302"/>
            <a:ext cx="1183973" cy="475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67222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936000"/>
            <a:ext cx="9144000" cy="4207500"/>
          </a:xfrm>
          <a:prstGeom prst="rect">
            <a:avLst/>
          </a:prstGeom>
          <a:solidFill>
            <a:srgbClr val="D9E7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0000" y="360000"/>
            <a:ext cx="7632000" cy="529568"/>
          </a:xfrm>
        </p:spPr>
        <p:txBody>
          <a:bodyPr lIns="0" tIns="0" rIns="0" bIns="0" anchor="t">
            <a:normAutofit/>
          </a:bodyPr>
          <a:lstStyle>
            <a:lvl1pPr>
              <a:defRPr sz="3000" b="1" spc="-4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in Heading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0000" y="1080000"/>
            <a:ext cx="7704000" cy="3435966"/>
          </a:xfrm>
        </p:spPr>
        <p:txBody>
          <a:bodyPr lIns="0" tIns="0" rIns="0" bIns="0"/>
          <a:lstStyle>
            <a:lvl1pPr>
              <a:defRPr sz="2400">
                <a:solidFill>
                  <a:schemeClr val="accent6"/>
                </a:solidFill>
              </a:defRPr>
            </a:lvl1pPr>
            <a:lvl2pPr>
              <a:defRPr sz="2100">
                <a:solidFill>
                  <a:schemeClr val="accent6"/>
                </a:solidFill>
              </a:defRPr>
            </a:lvl2pPr>
            <a:lvl3pPr marL="1143000" indent="-228600">
              <a:buFont typeface="Wingdings" panose="05000000000000000000" pitchFamily="2" charset="2"/>
              <a:buChar char="§"/>
              <a:defRPr sz="1800">
                <a:solidFill>
                  <a:schemeClr val="accent6"/>
                </a:solidFill>
              </a:defRPr>
            </a:lvl3pPr>
            <a:lvl4pPr>
              <a:defRPr sz="2100"/>
            </a:lvl4pPr>
            <a:lvl5pPr>
              <a:defRPr sz="17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300192" y="4731990"/>
            <a:ext cx="2133600" cy="273844"/>
          </a:xfrm>
          <a:noFill/>
        </p:spPr>
        <p:txBody>
          <a:bodyPr/>
          <a:lstStyle>
            <a:lvl1pPr>
              <a:defRPr sz="1000">
                <a:solidFill>
                  <a:schemeClr val="accent6"/>
                </a:solidFill>
              </a:defRPr>
            </a:lvl1pPr>
          </a:lstStyle>
          <a:p>
            <a:fld id="{DC12C2CB-C475-442B-84C1-CBFDBCB34DB3}" type="slidenum">
              <a:rPr lang="en-GB" smtClean="0">
                <a:solidFill>
                  <a:srgbClr val="424D58"/>
                </a:solidFill>
              </a:rPr>
              <a:pPr/>
              <a:t>‹#›</a:t>
            </a:fld>
            <a:endParaRPr lang="en-GB" dirty="0">
              <a:solidFill>
                <a:srgbClr val="424D5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270213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51640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0000" y="699694"/>
            <a:ext cx="6804328" cy="900068"/>
          </a:xfrm>
        </p:spPr>
        <p:txBody>
          <a:bodyPr lIns="0" tIns="0" rIns="0" bIns="0" anchor="t">
            <a:normAutofit/>
          </a:bodyPr>
          <a:lstStyle>
            <a:lvl1pPr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ain Heading</a:t>
            </a:r>
            <a:endParaRPr lang="en-GB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83568" y="4371950"/>
            <a:ext cx="8003232" cy="660663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2100">
                <a:solidFill>
                  <a:schemeClr val="bg1"/>
                </a:solidFill>
              </a:defRPr>
            </a:lvl1pPr>
            <a:lvl2pPr>
              <a:defRPr sz="2600">
                <a:solidFill>
                  <a:schemeClr val="bg1"/>
                </a:solidFill>
              </a:defRPr>
            </a:lvl2pPr>
            <a:lvl3pPr marL="1143000" indent="-228600">
              <a:buFont typeface="Wingdings" panose="05000000000000000000" pitchFamily="2" charset="2"/>
              <a:buChar char="§"/>
              <a:defRPr sz="2200">
                <a:solidFill>
                  <a:schemeClr val="bg1"/>
                </a:solidFill>
              </a:defRPr>
            </a:lvl3pPr>
            <a:lvl4pPr>
              <a:defRPr sz="2100"/>
            </a:lvl4pPr>
            <a:lvl5pPr>
              <a:defRPr sz="17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300192" y="4731990"/>
            <a:ext cx="2133600" cy="273844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4F2E129E-16B7-480B-972E-C025DBFD1D53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23552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0" y="762"/>
            <a:ext cx="9144000" cy="51444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6400"/>
            <a:ext cx="9144000" cy="1296144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20000" y="4032000"/>
            <a:ext cx="6804328" cy="900068"/>
          </a:xfrm>
        </p:spPr>
        <p:txBody>
          <a:bodyPr lIns="0" tIns="0" rIns="0" bIns="0" anchor="t">
            <a:normAutofit/>
          </a:bodyPr>
          <a:lstStyle>
            <a:lvl1pPr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ain Heading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720000" y="4515966"/>
            <a:ext cx="6804000" cy="516647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>
              <a:defRPr sz="2600">
                <a:solidFill>
                  <a:schemeClr val="bg1"/>
                </a:solidFill>
              </a:defRPr>
            </a:lvl2pPr>
            <a:lvl3pPr marL="1143000" indent="-228600">
              <a:buFont typeface="Wingdings" panose="05000000000000000000" pitchFamily="2" charset="2"/>
              <a:buChar char="§"/>
              <a:defRPr sz="2200">
                <a:solidFill>
                  <a:schemeClr val="bg1"/>
                </a:solidFill>
              </a:defRPr>
            </a:lvl3pPr>
            <a:lvl4pPr>
              <a:defRPr sz="2100"/>
            </a:lvl4pPr>
            <a:lvl5pPr>
              <a:defRPr sz="17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300192" y="4731990"/>
            <a:ext cx="2133600" cy="273844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4F2E129E-16B7-480B-972E-C025DBFD1D53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73922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47614"/>
            <a:ext cx="9144000" cy="2556164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1347614"/>
            <a:ext cx="9144000" cy="2556163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5" name="TextBox 14">
            <a:hlinkClick r:id="rId3"/>
          </p:cNvPr>
          <p:cNvSpPr txBox="1"/>
          <p:nvPr userDrawn="1"/>
        </p:nvSpPr>
        <p:spPr>
          <a:xfrm>
            <a:off x="478397" y="3341091"/>
            <a:ext cx="46696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dirty="0">
              <a:solidFill>
                <a:srgbClr val="0F0F0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755576" y="1398235"/>
            <a:ext cx="604867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600"/>
              </a:lnSpc>
            </a:pPr>
            <a:r>
              <a:rPr lang="en-GB" sz="2400" b="1" dirty="0">
                <a:solidFill>
                  <a:srgbClr val="005EB8"/>
                </a:solidFill>
              </a:rPr>
              <a:t>www.digital.nhs.uk</a:t>
            </a:r>
            <a:endParaRPr lang="en-GB" sz="2400" dirty="0">
              <a:solidFill>
                <a:srgbClr val="005EB8"/>
              </a:solidFill>
            </a:endParaRPr>
          </a:p>
          <a:p>
            <a:pPr>
              <a:lnSpc>
                <a:spcPts val="3600"/>
              </a:lnSpc>
              <a:defRPr/>
            </a:pPr>
            <a:r>
              <a:rPr lang="en-GB" sz="2400" dirty="0">
                <a:solidFill>
                  <a:srgbClr val="005EB8"/>
                </a:solidFill>
              </a:rPr>
              <a:t>     </a:t>
            </a:r>
            <a:r>
              <a:rPr lang="en-GB" sz="2400" b="1" dirty="0">
                <a:solidFill>
                  <a:srgbClr val="005EB8"/>
                </a:solidFill>
              </a:rPr>
              <a:t>@nhsdigital</a:t>
            </a:r>
          </a:p>
          <a:p>
            <a:pPr>
              <a:lnSpc>
                <a:spcPts val="3600"/>
              </a:lnSpc>
            </a:pPr>
            <a:r>
              <a:rPr lang="en-GB" sz="2400" b="1" dirty="0">
                <a:solidFill>
                  <a:srgbClr val="005EB8"/>
                </a:solidFill>
              </a:rPr>
              <a:t>enquiries@nhsdigital.nhs.uk</a:t>
            </a:r>
          </a:p>
          <a:p>
            <a:pPr>
              <a:lnSpc>
                <a:spcPts val="3600"/>
              </a:lnSpc>
            </a:pPr>
            <a:r>
              <a:rPr lang="en-GB" sz="2400" b="1" dirty="0">
                <a:solidFill>
                  <a:srgbClr val="005EB8"/>
                </a:solidFill>
              </a:rPr>
              <a:t>0300 303 5678</a:t>
            </a:r>
            <a:endParaRPr lang="en-GB" sz="2400" dirty="0">
              <a:solidFill>
                <a:srgbClr val="005EB8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4235542"/>
            <a:ext cx="3671171" cy="7124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925" y="1968019"/>
            <a:ext cx="387707" cy="387707"/>
          </a:xfrm>
          <a:prstGeom prst="rect">
            <a:avLst/>
          </a:prstGeom>
        </p:spPr>
      </p:pic>
      <p:pic>
        <p:nvPicPr>
          <p:cNvPr id="17" name="Picture 16"/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8211" y="253638"/>
            <a:ext cx="1198245" cy="949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4544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439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4356000"/>
            <a:ext cx="9144000" cy="79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0000" y="1728000"/>
            <a:ext cx="6660312" cy="483558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3000" b="1" spc="-4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heading in 30pt Arial Bold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2268000"/>
            <a:ext cx="6660312" cy="444553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2100" b="1">
                <a:solidFill>
                  <a:srgbClr val="FAE100"/>
                </a:solidFill>
              </a:defRPr>
            </a:lvl1pPr>
          </a:lstStyle>
          <a:p>
            <a:r>
              <a:rPr lang="en-US" dirty="0"/>
              <a:t>Subheading in 21pt Arial Bold</a:t>
            </a:r>
            <a:endParaRPr lang="en-GB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644008" y="4464000"/>
            <a:ext cx="3924008" cy="540000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15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Presented by… in 15pt Arial Bold</a:t>
            </a:r>
            <a:endParaRPr lang="en-GB" dirty="0"/>
          </a:p>
        </p:txBody>
      </p:sp>
      <p:pic>
        <p:nvPicPr>
          <p:cNvPr id="13" name="Picture 2" descr="C:\Users\DShaplan\AppData\Local\Temp\Rar$DIa0.409\NHS 10mm - RGB Blue on white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4805" y="379302"/>
            <a:ext cx="1183973" cy="475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99445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 2">
  <p:cSld name="Title and Content 2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/>
          <p:nvPr/>
        </p:nvSpPr>
        <p:spPr>
          <a:xfrm>
            <a:off x="0" y="797288"/>
            <a:ext cx="9144000" cy="43461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82283" tIns="41130" rIns="82283" bIns="4113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62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" name="Shape 30"/>
          <p:cNvSpPr txBox="1">
            <a:spLocks noGrp="1"/>
          </p:cNvSpPr>
          <p:nvPr>
            <p:ph type="title"/>
          </p:nvPr>
        </p:nvSpPr>
        <p:spPr>
          <a:xfrm>
            <a:off x="341881" y="0"/>
            <a:ext cx="7632000" cy="9360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Font typeface="Open Sans"/>
              <a:buNone/>
              <a:defRPr sz="2700" b="1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620">
                <a:latin typeface="Open Sans"/>
                <a:ea typeface="Open Sans"/>
                <a:cs typeface="Open Sans"/>
                <a:sym typeface="Open Sans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620">
                <a:latin typeface="Open Sans"/>
                <a:ea typeface="Open Sans"/>
                <a:cs typeface="Open Sans"/>
                <a:sym typeface="Open Sans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620">
                <a:latin typeface="Open Sans"/>
                <a:ea typeface="Open Sans"/>
                <a:cs typeface="Open Sans"/>
                <a:sym typeface="Open Sans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620">
                <a:latin typeface="Open Sans"/>
                <a:ea typeface="Open Sans"/>
                <a:cs typeface="Open Sans"/>
                <a:sym typeface="Open Sans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620">
                <a:latin typeface="Open Sans"/>
                <a:ea typeface="Open Sans"/>
                <a:cs typeface="Open Sans"/>
                <a:sym typeface="Open Sans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620">
                <a:latin typeface="Open Sans"/>
                <a:ea typeface="Open Sans"/>
                <a:cs typeface="Open Sans"/>
                <a:sym typeface="Open Sans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620">
                <a:latin typeface="Open Sans"/>
                <a:ea typeface="Open Sans"/>
                <a:cs typeface="Open Sans"/>
                <a:sym typeface="Open Sans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Open Sans"/>
              <a:buNone/>
              <a:defRPr sz="1620"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31" name="Shape 31"/>
          <p:cNvSpPr txBox="1">
            <a:spLocks noGrp="1"/>
          </p:cNvSpPr>
          <p:nvPr>
            <p:ph type="body" idx="1"/>
          </p:nvPr>
        </p:nvSpPr>
        <p:spPr>
          <a:xfrm>
            <a:off x="341881" y="1179495"/>
            <a:ext cx="7704000" cy="36795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11480" marR="0" lvl="0" indent="-342900" algn="l" rtl="0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Clr>
                <a:schemeClr val="lt1"/>
              </a:buClr>
              <a:buSzPts val="2400"/>
              <a:buFont typeface="Open Sans"/>
              <a:buChar char="•"/>
              <a:defRPr sz="216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822960" marR="0" lvl="1" indent="-325755" algn="l" rtl="0">
              <a:lnSpc>
                <a:spcPct val="100000"/>
              </a:lnSpc>
              <a:spcBef>
                <a:spcPts val="378"/>
              </a:spcBef>
              <a:spcAft>
                <a:spcPts val="0"/>
              </a:spcAft>
              <a:buClr>
                <a:schemeClr val="lt1"/>
              </a:buClr>
              <a:buSzPts val="2100"/>
              <a:buFont typeface="Open Sans"/>
              <a:buChar char="–"/>
              <a:defRPr sz="189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234440" marR="0" lvl="2" indent="-308610" algn="l" rtl="0">
              <a:lnSpc>
                <a:spcPct val="100000"/>
              </a:lnSpc>
              <a:spcBef>
                <a:spcPts val="324"/>
              </a:spcBef>
              <a:spcAft>
                <a:spcPts val="0"/>
              </a:spcAft>
              <a:buClr>
                <a:schemeClr val="lt1"/>
              </a:buClr>
              <a:buSzPts val="1800"/>
              <a:buFont typeface="Open Sans"/>
              <a:buChar char="▪"/>
              <a:defRPr sz="162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645920" marR="0" lvl="3" indent="-325755" algn="l" rtl="0">
              <a:lnSpc>
                <a:spcPct val="100000"/>
              </a:lnSpc>
              <a:spcBef>
                <a:spcPts val="378"/>
              </a:spcBef>
              <a:spcAft>
                <a:spcPts val="0"/>
              </a:spcAft>
              <a:buClr>
                <a:schemeClr val="accent1"/>
              </a:buClr>
              <a:buSzPts val="2100"/>
              <a:buFont typeface="Open Sans"/>
              <a:buChar char="–"/>
              <a:defRPr sz="189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057400" marR="0" lvl="4" indent="-305753" algn="l" rtl="0">
              <a:lnSpc>
                <a:spcPct val="100000"/>
              </a:lnSpc>
              <a:spcBef>
                <a:spcPts val="315"/>
              </a:spcBef>
              <a:spcAft>
                <a:spcPts val="0"/>
              </a:spcAft>
              <a:buClr>
                <a:schemeClr val="accent1"/>
              </a:buClr>
              <a:buSzPts val="1750"/>
              <a:buFont typeface="Open Sans"/>
              <a:buChar char="»"/>
              <a:defRPr sz="1575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468880" marR="0" lvl="5" indent="-32004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18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2880360" marR="0" lvl="6" indent="-32004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18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291840" marR="0" lvl="7" indent="-32004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18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3703320" marR="0" lvl="8" indent="-32004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Open Sans"/>
              <a:buChar char="•"/>
              <a:defRPr sz="1800" i="0" u="none" strike="noStrike" cap="none">
                <a:solidFill>
                  <a:schemeClr val="dk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32" name="Shape 32"/>
          <p:cNvSpPr txBox="1">
            <a:spLocks noGrp="1"/>
          </p:cNvSpPr>
          <p:nvPr>
            <p:ph type="sldNum" idx="12"/>
          </p:nvPr>
        </p:nvSpPr>
        <p:spPr>
          <a:xfrm>
            <a:off x="6833592" y="4731989"/>
            <a:ext cx="2133600" cy="2737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08244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Content 1">
  <p:cSld name="3_Title and Content 1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Shape 41"/>
          <p:cNvSpPr/>
          <p:nvPr/>
        </p:nvSpPr>
        <p:spPr>
          <a:xfrm>
            <a:off x="0" y="936000"/>
            <a:ext cx="9144000" cy="4207500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txBody>
          <a:bodyPr spcFirstLastPara="1" wrap="square" lIns="82283" tIns="41130" rIns="82283" bIns="4113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62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" name="Shape 42"/>
          <p:cNvSpPr/>
          <p:nvPr/>
        </p:nvSpPr>
        <p:spPr>
          <a:xfrm>
            <a:off x="0" y="0"/>
            <a:ext cx="9144000" cy="93609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82283" tIns="41130" rIns="82283" bIns="4113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62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" name="Shape 44"/>
          <p:cNvSpPr txBox="1">
            <a:spLocks noGrp="1"/>
          </p:cNvSpPr>
          <p:nvPr>
            <p:ph type="sldNum" idx="12"/>
          </p:nvPr>
        </p:nvSpPr>
        <p:spPr>
          <a:xfrm>
            <a:off x="6300192" y="4731989"/>
            <a:ext cx="2133600" cy="2737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5" name="Shape 45"/>
          <p:cNvSpPr txBox="1">
            <a:spLocks noGrp="1"/>
          </p:cNvSpPr>
          <p:nvPr>
            <p:ph type="body" idx="1"/>
          </p:nvPr>
        </p:nvSpPr>
        <p:spPr>
          <a:xfrm>
            <a:off x="339000" y="1179495"/>
            <a:ext cx="8085000" cy="36795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11480" marR="0" lvl="0" indent="-342900" algn="l" rtl="0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Char char="•"/>
              <a:defRPr sz="216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822960" marR="0" lvl="1" indent="-325755" algn="l" rtl="0">
              <a:lnSpc>
                <a:spcPct val="100000"/>
              </a:lnSpc>
              <a:spcBef>
                <a:spcPts val="378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Arial"/>
              <a:buChar char="–"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234440" marR="0" lvl="2" indent="-308610" algn="l" rtl="0">
              <a:lnSpc>
                <a:spcPct val="100000"/>
              </a:lnSpc>
              <a:spcBef>
                <a:spcPts val="324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Noto Sans Symbols"/>
              <a:buChar char="▪"/>
              <a:defRPr sz="162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45920" marR="0" lvl="3" indent="-325755" algn="l" rtl="0">
              <a:lnSpc>
                <a:spcPct val="100000"/>
              </a:lnSpc>
              <a:spcBef>
                <a:spcPts val="378"/>
              </a:spcBef>
              <a:spcAft>
                <a:spcPts val="0"/>
              </a:spcAft>
              <a:buClr>
                <a:schemeClr val="accent1"/>
              </a:buClr>
              <a:buSzPts val="2100"/>
              <a:buFont typeface="Arial"/>
              <a:buChar char="–"/>
              <a:defRPr sz="189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lvl="4" indent="-305753" algn="l" rtl="0">
              <a:lnSpc>
                <a:spcPct val="100000"/>
              </a:lnSpc>
              <a:spcBef>
                <a:spcPts val="315"/>
              </a:spcBef>
              <a:spcAft>
                <a:spcPts val="0"/>
              </a:spcAft>
              <a:buClr>
                <a:schemeClr val="accent1"/>
              </a:buClr>
              <a:buSzPts val="1750"/>
              <a:buFont typeface="Arial"/>
              <a:buChar char="»"/>
              <a:defRPr sz="1575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468880" marR="0" lvl="5" indent="-32004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880360" marR="0" lvl="6" indent="-32004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91840" marR="0" lvl="7" indent="-32004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703320" marR="0" lvl="8" indent="-32004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6" name="Shape 46"/>
          <p:cNvSpPr txBox="1">
            <a:spLocks noGrp="1"/>
          </p:cNvSpPr>
          <p:nvPr>
            <p:ph type="title"/>
          </p:nvPr>
        </p:nvSpPr>
        <p:spPr>
          <a:xfrm>
            <a:off x="339000" y="0"/>
            <a:ext cx="7632000" cy="9360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Font typeface="Open Sans"/>
              <a:buNone/>
              <a:defRPr sz="270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140240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67FDF844-9D76-433D-AAFC-0E20DC1335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F5EA0A93-15B6-4A54-8A4E-DB21EFE5CF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ECB56EA3-27E1-44B0-89EE-DDD4B28DDD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9D6EA-53C1-4056-A5B8-5AF66D913895}" type="datetime1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15/06/2018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5795852-F7F4-4ED2-9D46-E094104268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0F0F0F">
                    <a:tint val="75000"/>
                  </a:srgbClr>
                </a:solidFill>
              </a:rPr>
              <a:t>Click to edit master footer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9A5D0355-C3DD-4A3E-9E3A-6D6EE9B555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2E129E-16B7-480B-972E-C025DBFD1D53}" type="slidenum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0813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DB057D0-9FAA-4092-88B5-FE3701EAD9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9543E727-64CE-4FEA-996D-299FB10544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FD1F40C8-389E-46EB-954B-3E4016DA9E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9D6EA-53C1-4056-A5B8-5AF66D913895}" type="datetime1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15/06/2018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55201C5-3DCA-4E35-8880-FDB50907D3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0F0F0F">
                    <a:tint val="75000"/>
                  </a:srgbClr>
                </a:solidFill>
              </a:rPr>
              <a:t>Click to edit master footer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9553E6A2-2155-40B5-AC58-43B897BADB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2E129E-16B7-480B-972E-C025DBFD1D53}" type="slidenum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78270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D466BCF-978E-4B97-B457-E8B2B184F9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18352B81-218B-4D17-8A91-63CD4317199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3F095B37-BB15-47D8-9142-3E36D7BE3B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9D6EA-53C1-4056-A5B8-5AF66D913895}" type="datetime1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15/06/2018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44A0FA03-0830-4F39-A551-273EDFC786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0F0F0F">
                    <a:tint val="75000"/>
                  </a:srgbClr>
                </a:solidFill>
              </a:rPr>
              <a:t>Click to edit master footer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5DF7A17C-7735-4F3B-A4CA-5A1A985A5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2E129E-16B7-480B-972E-C025DBFD1D53}" type="slidenum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59251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936000"/>
            <a:ext cx="9144000" cy="4207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0000" y="360000"/>
            <a:ext cx="7632000" cy="529568"/>
          </a:xfrm>
        </p:spPr>
        <p:txBody>
          <a:bodyPr lIns="0" tIns="0" rIns="0" bIns="0" anchor="t">
            <a:normAutofit/>
          </a:bodyPr>
          <a:lstStyle>
            <a:lvl1pPr>
              <a:defRPr sz="3000" b="1" spc="-4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in Heading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0000" y="1080000"/>
            <a:ext cx="7704000" cy="3435966"/>
          </a:xfrm>
        </p:spPr>
        <p:txBody>
          <a:bodyPr lIns="0" tIns="0" rIns="0" bIns="0"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00">
                <a:solidFill>
                  <a:schemeClr val="bg1"/>
                </a:solidFill>
              </a:defRPr>
            </a:lvl2pPr>
            <a:lvl3pPr marL="1143000" indent="-228600"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3pPr>
            <a:lvl4pPr>
              <a:defRPr sz="2100"/>
            </a:lvl4pPr>
            <a:lvl5pPr>
              <a:defRPr sz="17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300192" y="4731990"/>
            <a:ext cx="2133600" cy="273844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280AA684-6FB9-400F-B313-F111F0F4873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8140604"/>
      </p:ext>
    </p:extLst>
  </p:cSld>
  <p:clrMapOvr>
    <a:masterClrMapping/>
  </p:clrMapOvr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936000"/>
            <a:ext cx="9144000" cy="4207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0000" y="360000"/>
            <a:ext cx="7632000" cy="529568"/>
          </a:xfrm>
        </p:spPr>
        <p:txBody>
          <a:bodyPr lIns="0" tIns="0" rIns="0" bIns="0" anchor="t">
            <a:normAutofit/>
          </a:bodyPr>
          <a:lstStyle>
            <a:lvl1pPr>
              <a:defRPr sz="2800" b="1" spc="-4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in Heading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0000" y="1080000"/>
            <a:ext cx="7704000" cy="3435966"/>
          </a:xfrm>
        </p:spPr>
        <p:txBody>
          <a:bodyPr lIns="0" tIns="0" rIns="0" bIns="0"/>
          <a:lstStyle>
            <a:lvl1pPr>
              <a:defRPr sz="2400">
                <a:solidFill>
                  <a:schemeClr val="accent6"/>
                </a:solidFill>
              </a:defRPr>
            </a:lvl1pPr>
            <a:lvl2pPr>
              <a:defRPr sz="2100">
                <a:solidFill>
                  <a:schemeClr val="accent6"/>
                </a:solidFill>
              </a:defRPr>
            </a:lvl2pPr>
            <a:lvl3pPr marL="1143000" indent="-228600">
              <a:buFont typeface="Wingdings" panose="05000000000000000000" pitchFamily="2" charset="2"/>
              <a:buChar char="§"/>
              <a:defRPr sz="1800">
                <a:solidFill>
                  <a:schemeClr val="accent6"/>
                </a:solidFill>
              </a:defRPr>
            </a:lvl3pPr>
            <a:lvl4pPr>
              <a:defRPr sz="2100"/>
            </a:lvl4pPr>
            <a:lvl5pPr>
              <a:defRPr sz="17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300192" y="4731990"/>
            <a:ext cx="2133600" cy="273844"/>
          </a:xfrm>
        </p:spPr>
        <p:txBody>
          <a:bodyPr/>
          <a:lstStyle>
            <a:lvl1pPr>
              <a:defRPr sz="1000">
                <a:solidFill>
                  <a:schemeClr val="accent6"/>
                </a:solidFill>
              </a:defRPr>
            </a:lvl1pPr>
          </a:lstStyle>
          <a:p>
            <a:fld id="{280AA684-6FB9-400F-B313-F111F0F48737}" type="slidenum">
              <a:rPr lang="en-GB" smtClean="0">
                <a:solidFill>
                  <a:srgbClr val="424D58"/>
                </a:solidFill>
              </a:rPr>
              <a:pPr/>
              <a:t>‹#›</a:t>
            </a:fld>
            <a:endParaRPr lang="en-GB" dirty="0">
              <a:solidFill>
                <a:srgbClr val="424D5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07249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unchy statement">
    <p:bg>
      <p:bgPr>
        <a:solidFill>
          <a:srgbClr val="005E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Shape 95"/>
          <p:cNvSpPr>
            <a:spLocks noGrp="1"/>
          </p:cNvSpPr>
          <p:nvPr>
            <p:ph type="title"/>
          </p:nvPr>
        </p:nvSpPr>
        <p:spPr>
          <a:xfrm>
            <a:off x="490256" y="462575"/>
            <a:ext cx="8188801" cy="4154700"/>
          </a:xfrm>
          <a:prstGeom prst="rect">
            <a:avLst/>
          </a:prstGeom>
        </p:spPr>
        <p:txBody>
          <a:bodyPr lIns="51423" tIns="51423" rIns="51423" bIns="51423"/>
          <a:lstStyle>
            <a:lvl1pPr>
              <a:lnSpc>
                <a:spcPct val="90000"/>
              </a:lnSpc>
              <a:defRPr sz="4100" b="1">
                <a:solidFill>
                  <a:srgbClr val="FFFFFF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96" name="Shape 9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38196759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439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4356000"/>
            <a:ext cx="9144000" cy="79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0000" y="1728000"/>
            <a:ext cx="6660312" cy="483558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3000" b="1" spc="-4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heading in 30pt Arial Bold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2268000"/>
            <a:ext cx="6660312" cy="444553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2100" b="1">
                <a:solidFill>
                  <a:srgbClr val="FAE100"/>
                </a:solidFill>
              </a:defRPr>
            </a:lvl1pPr>
          </a:lstStyle>
          <a:p>
            <a:r>
              <a:rPr lang="en-US" dirty="0"/>
              <a:t>Subheading in 21pt Arial Bold</a:t>
            </a:r>
            <a:endParaRPr lang="en-GB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644008" y="4464000"/>
            <a:ext cx="3924008" cy="540000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15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Presented by… in 15pt Arial Bold</a:t>
            </a:r>
            <a:endParaRPr lang="en-GB" dirty="0"/>
          </a:p>
        </p:txBody>
      </p:sp>
      <p:pic>
        <p:nvPicPr>
          <p:cNvPr id="13" name="Picture 2" descr="C:\Users\DShaplan\AppData\Local\Temp\Rar$DIa0.409\NHS 10mm - RGB Blue on white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4805" y="379302"/>
            <a:ext cx="1183973" cy="475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83569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51640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0000" y="699694"/>
            <a:ext cx="6804328" cy="900068"/>
          </a:xfrm>
        </p:spPr>
        <p:txBody>
          <a:bodyPr lIns="0" tIns="0" rIns="0" bIns="0" anchor="t">
            <a:normAutofit/>
          </a:bodyPr>
          <a:lstStyle>
            <a:lvl1pPr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ain Heading</a:t>
            </a:r>
            <a:endParaRPr lang="en-GB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83568" y="4371950"/>
            <a:ext cx="8003232" cy="660663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2100">
                <a:solidFill>
                  <a:schemeClr val="bg1"/>
                </a:solidFill>
              </a:defRPr>
            </a:lvl1pPr>
            <a:lvl2pPr>
              <a:defRPr sz="2600">
                <a:solidFill>
                  <a:schemeClr val="bg1"/>
                </a:solidFill>
              </a:defRPr>
            </a:lvl2pPr>
            <a:lvl3pPr marL="1143000" indent="-228600">
              <a:buFont typeface="Wingdings" panose="05000000000000000000" pitchFamily="2" charset="2"/>
              <a:buChar char="§"/>
              <a:defRPr sz="2200">
                <a:solidFill>
                  <a:schemeClr val="bg1"/>
                </a:solidFill>
              </a:defRPr>
            </a:lvl3pPr>
            <a:lvl4pPr>
              <a:defRPr sz="2100"/>
            </a:lvl4pPr>
            <a:lvl5pPr>
              <a:defRPr sz="17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300192" y="4731990"/>
            <a:ext cx="2133600" cy="273844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4F2E129E-16B7-480B-972E-C025DBFD1D53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68138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Content 1">
  <p:cSld name="3_Title and Content 1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Shape 41"/>
          <p:cNvSpPr/>
          <p:nvPr/>
        </p:nvSpPr>
        <p:spPr>
          <a:xfrm>
            <a:off x="0" y="936000"/>
            <a:ext cx="9144000" cy="4207500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txBody>
          <a:bodyPr spcFirstLastPara="1" wrap="square" lIns="82283" tIns="41130" rIns="82283" bIns="4113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62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" name="Shape 42"/>
          <p:cNvSpPr/>
          <p:nvPr/>
        </p:nvSpPr>
        <p:spPr>
          <a:xfrm>
            <a:off x="0" y="0"/>
            <a:ext cx="9144000" cy="93609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82283" tIns="41130" rIns="82283" bIns="4113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62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" name="Shape 44"/>
          <p:cNvSpPr txBox="1">
            <a:spLocks noGrp="1"/>
          </p:cNvSpPr>
          <p:nvPr>
            <p:ph type="sldNum" idx="12"/>
          </p:nvPr>
        </p:nvSpPr>
        <p:spPr>
          <a:xfrm>
            <a:off x="6300192" y="4731989"/>
            <a:ext cx="2133600" cy="2737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5" name="Shape 45"/>
          <p:cNvSpPr txBox="1">
            <a:spLocks noGrp="1"/>
          </p:cNvSpPr>
          <p:nvPr>
            <p:ph type="body" idx="1"/>
          </p:nvPr>
        </p:nvSpPr>
        <p:spPr>
          <a:xfrm>
            <a:off x="339000" y="1179495"/>
            <a:ext cx="8085000" cy="36795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11480" marR="0" lvl="0" indent="-342900" algn="l" rtl="0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Char char="•"/>
              <a:defRPr sz="216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822960" marR="0" lvl="1" indent="-325755" algn="l" rtl="0">
              <a:lnSpc>
                <a:spcPct val="100000"/>
              </a:lnSpc>
              <a:spcBef>
                <a:spcPts val="378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Arial"/>
              <a:buChar char="–"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234440" marR="0" lvl="2" indent="-308610" algn="l" rtl="0">
              <a:lnSpc>
                <a:spcPct val="100000"/>
              </a:lnSpc>
              <a:spcBef>
                <a:spcPts val="324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Noto Sans Symbols"/>
              <a:buChar char="▪"/>
              <a:defRPr sz="162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45920" marR="0" lvl="3" indent="-325755" algn="l" rtl="0">
              <a:lnSpc>
                <a:spcPct val="100000"/>
              </a:lnSpc>
              <a:spcBef>
                <a:spcPts val="378"/>
              </a:spcBef>
              <a:spcAft>
                <a:spcPts val="0"/>
              </a:spcAft>
              <a:buClr>
                <a:schemeClr val="accent1"/>
              </a:buClr>
              <a:buSzPts val="2100"/>
              <a:buFont typeface="Arial"/>
              <a:buChar char="–"/>
              <a:defRPr sz="189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lvl="4" indent="-305753" algn="l" rtl="0">
              <a:lnSpc>
                <a:spcPct val="100000"/>
              </a:lnSpc>
              <a:spcBef>
                <a:spcPts val="315"/>
              </a:spcBef>
              <a:spcAft>
                <a:spcPts val="0"/>
              </a:spcAft>
              <a:buClr>
                <a:schemeClr val="accent1"/>
              </a:buClr>
              <a:buSzPts val="1750"/>
              <a:buFont typeface="Arial"/>
              <a:buChar char="»"/>
              <a:defRPr sz="1575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468880" marR="0" lvl="5" indent="-32004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880360" marR="0" lvl="6" indent="-32004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91840" marR="0" lvl="7" indent="-32004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703320" marR="0" lvl="8" indent="-32004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6" name="Shape 46"/>
          <p:cNvSpPr txBox="1">
            <a:spLocks noGrp="1"/>
          </p:cNvSpPr>
          <p:nvPr>
            <p:ph type="title"/>
          </p:nvPr>
        </p:nvSpPr>
        <p:spPr>
          <a:xfrm>
            <a:off x="339000" y="0"/>
            <a:ext cx="7632000" cy="9360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Font typeface="Open Sans"/>
              <a:buNone/>
              <a:defRPr sz="270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128653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DC978F0A-484E-4E6F-9D21-B21B131ED8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511F681C-9BFD-492F-A1EA-FE1CE3FF5E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A2C882D7-3484-4F5A-8DF3-EE4E863BC1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9D6EA-53C1-4056-A5B8-5AF66D913895}" type="datetime1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15/06/2018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036AA3FF-DA48-4699-800E-751053DC1F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0F0F0F">
                    <a:tint val="75000"/>
                  </a:srgbClr>
                </a:solidFill>
              </a:rPr>
              <a:t>Click to edit master footer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75815DAD-BC6B-4773-8D71-841774297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2E129E-16B7-480B-972E-C025DBFD1D53}" type="slidenum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78138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4728" name="Rectangle 15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logo-a5.gif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2944" y="281498"/>
            <a:ext cx="1017665" cy="515240"/>
          </a:xfrm>
          <a:prstGeom prst="rect">
            <a:avLst/>
          </a:prstGeom>
        </p:spPr>
      </p:pic>
      <p:sp>
        <p:nvSpPr>
          <p:cNvPr id="25" name="Title 9"/>
          <p:cNvSpPr>
            <a:spLocks noGrp="1"/>
          </p:cNvSpPr>
          <p:nvPr>
            <p:ph type="title"/>
          </p:nvPr>
        </p:nvSpPr>
        <p:spPr>
          <a:xfrm>
            <a:off x="576266" y="1860424"/>
            <a:ext cx="8135936" cy="1620551"/>
          </a:xfrm>
        </p:spPr>
        <p:txBody>
          <a:bodyPr/>
          <a:lstStyle>
            <a:lvl1pPr>
              <a:defRPr sz="225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6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576266" y="3712288"/>
            <a:ext cx="8135936" cy="743642"/>
          </a:xfrm>
        </p:spPr>
        <p:txBody>
          <a:bodyPr/>
          <a:lstStyle>
            <a:lvl1pPr>
              <a:defRPr sz="21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576266" y="4489037"/>
            <a:ext cx="8135936" cy="270773"/>
          </a:xfrm>
        </p:spPr>
        <p:txBody>
          <a:bodyPr/>
          <a:lstStyle>
            <a:lvl1pPr>
              <a:defRPr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36808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9" y="119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9" y="1194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975" y="122635"/>
            <a:ext cx="7726347" cy="62388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4990" y="1132286"/>
            <a:ext cx="8274051" cy="345995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434975" y="4719918"/>
            <a:ext cx="8274066" cy="228096"/>
          </a:xfrm>
          <a:prstGeom prst="rect">
            <a:avLst/>
          </a:prstGeo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750" b="0"/>
            </a:lvl1pPr>
            <a:lvl2pPr marL="270272" indent="-138113">
              <a:buFont typeface="Arial" panose="020B0604020202020204" pitchFamily="34" charset="0"/>
              <a:buChar char="•"/>
              <a:defRPr sz="1050"/>
            </a:lvl2pPr>
            <a:lvl3pPr marL="540544" indent="-208360">
              <a:buFont typeface="Courier New" panose="02070309020205020404" pitchFamily="49" charset="0"/>
              <a:buChar char="o"/>
              <a:defRPr sz="1050" baseline="0"/>
            </a:lvl3pPr>
          </a:lstStyle>
          <a:p>
            <a:pPr lvl="0"/>
            <a:r>
              <a:rPr lang="en-US" dirty="0"/>
              <a:t>Click to add notes or sources</a:t>
            </a:r>
          </a:p>
        </p:txBody>
      </p:sp>
    </p:spTree>
    <p:extLst>
      <p:ext uri="{BB962C8B-B14F-4D97-AF65-F5344CB8AC3E}">
        <p14:creationId xmlns:p14="http://schemas.microsoft.com/office/powerpoint/2010/main" val="4540389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9" y="119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9" y="1194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975" y="122635"/>
            <a:ext cx="7726347" cy="62388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4990" y="1132286"/>
            <a:ext cx="8274051" cy="3459956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434975" y="4719918"/>
            <a:ext cx="8274066" cy="228096"/>
          </a:xfrm>
          <a:prstGeom prst="rect">
            <a:avLst/>
          </a:prstGeo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750" b="0"/>
            </a:lvl1pPr>
            <a:lvl2pPr marL="270272" indent="-138113">
              <a:buFont typeface="Arial" panose="020B0604020202020204" pitchFamily="34" charset="0"/>
              <a:buChar char="•"/>
              <a:defRPr sz="1050"/>
            </a:lvl2pPr>
            <a:lvl3pPr marL="540544" indent="-208360">
              <a:buFont typeface="Courier New" panose="02070309020205020404" pitchFamily="49" charset="0"/>
              <a:buChar char="o"/>
              <a:defRPr sz="1050" baseline="0"/>
            </a:lvl3pPr>
          </a:lstStyle>
          <a:p>
            <a:pPr lvl="0"/>
            <a:r>
              <a:rPr lang="en-US" dirty="0"/>
              <a:t>Click to add notes or sources</a:t>
            </a:r>
          </a:p>
        </p:txBody>
      </p:sp>
      <p:sp>
        <p:nvSpPr>
          <p:cNvPr id="7" name="Text Placeholder 36"/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1976013" y="4159405"/>
            <a:ext cx="5191974" cy="501770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91440" rIns="108000" bIns="91440" numCol="1" rtlCol="0" anchor="ctr" anchorCtr="0" compatLnSpc="1">
            <a:prstTxWarp prst="textNoShape">
              <a:avLst/>
            </a:prstTxWarp>
            <a:noAutofit/>
          </a:bodyPr>
          <a:lstStyle>
            <a:lvl1pPr algn="ctr">
              <a:defRPr kumimoji="0" lang="en-US" i="0" u="none" strike="noStrike" kern="1200" cap="none" normalizeH="0" baseline="0" smtClean="0">
                <a:solidFill>
                  <a:schemeClr val="bg1"/>
                </a:solidFill>
                <a:effectLst/>
              </a:defRPr>
            </a:lvl1pPr>
            <a:lvl2pPr>
              <a:defRPr lang="en-US" sz="1050" kern="1200" smtClean="0">
                <a:ea typeface="+mn-ea"/>
              </a:defRPr>
            </a:lvl2pPr>
            <a:lvl3pPr>
              <a:defRPr lang="en-US" sz="1050" kern="1200" smtClean="0">
                <a:ea typeface="+mn-ea"/>
              </a:defRPr>
            </a:lvl3pPr>
            <a:lvl4pPr>
              <a:defRPr lang="en-US" sz="1050" kern="1200" smtClean="0">
                <a:ea typeface="+mn-ea"/>
              </a:defRPr>
            </a:lvl4pPr>
            <a:lvl5pPr>
              <a:defRPr lang="en-GB" sz="1050" kern="1200">
                <a:ea typeface="+mn-ea"/>
              </a:defRPr>
            </a:lvl5pPr>
          </a:lstStyle>
          <a:p>
            <a:pPr marL="0" marR="0" lvl="0" indent="0" algn="ctr" latinLnBrk="0"/>
            <a:r>
              <a:rPr lang="en-US" dirty="0"/>
              <a:t>Click to edit text. Use this ‘takeaway box’ to </a:t>
            </a:r>
            <a:r>
              <a:rPr lang="en-US" dirty="0" err="1"/>
              <a:t>summarise</a:t>
            </a:r>
            <a:r>
              <a:rPr lang="en-US" dirty="0"/>
              <a:t> the key message of the slid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35220" y="746522"/>
            <a:ext cx="7725508" cy="232172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>
            <a:lvl1pPr>
              <a:defRPr lang="en-US" sz="1200" b="0" kern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>
              <a:defRPr lang="en-US" sz="1200" b="0" kern="1200" dirty="0" smtClean="0">
                <a:solidFill>
                  <a:schemeClr val="tx2"/>
                </a:solidFill>
                <a:latin typeface="Trebuchet MS" pitchFamily="34" charset="0"/>
                <a:ea typeface="+mn-ea"/>
                <a:cs typeface="Arial" charset="0"/>
              </a:defRPr>
            </a:lvl2pPr>
            <a:lvl3pPr>
              <a:defRPr lang="en-US" sz="1200" b="0" kern="1200" dirty="0" smtClean="0">
                <a:solidFill>
                  <a:schemeClr val="tx2"/>
                </a:solidFill>
                <a:latin typeface="Trebuchet MS" pitchFamily="34" charset="0"/>
                <a:ea typeface="+mn-ea"/>
                <a:cs typeface="Arial" charset="0"/>
              </a:defRPr>
            </a:lvl3pPr>
            <a:lvl4pPr>
              <a:defRPr lang="en-US" sz="1200" b="0" kern="1200" dirty="0" smtClean="0">
                <a:solidFill>
                  <a:schemeClr val="tx2"/>
                </a:solidFill>
                <a:latin typeface="Trebuchet MS" pitchFamily="34" charset="0"/>
                <a:ea typeface="+mn-ea"/>
                <a:cs typeface="Arial" charset="0"/>
              </a:defRPr>
            </a:lvl4pPr>
            <a:lvl5pPr>
              <a:defRPr lang="en-GB" sz="1200" b="0" kern="1200" dirty="0">
                <a:solidFill>
                  <a:schemeClr val="tx2"/>
                </a:solidFill>
                <a:latin typeface="Trebuchet MS" pitchFamily="34" charset="0"/>
                <a:ea typeface="+mn-ea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44943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ue ch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975" y="121024"/>
            <a:ext cx="7726347" cy="625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>
            <a:lvl1pPr>
              <a:defRPr lang="en-GB" dirty="0"/>
            </a:lvl1pPr>
          </a:lstStyle>
          <a:p>
            <a:pPr lvl="0"/>
            <a:r>
              <a:rPr lang="en-US" dirty="0"/>
              <a:t>Narrative title style (no more than two lines long)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434975" y="1176371"/>
            <a:ext cx="2817145" cy="396935"/>
          </a:xfrm>
          <a:prstGeom prst="homePlate">
            <a:avLst>
              <a:gd name="adj" fmla="val 37104"/>
            </a:avLst>
          </a:prstGeom>
          <a:solidFill>
            <a:schemeClr val="accent4"/>
          </a:solidFill>
          <a:ln>
            <a:noFill/>
          </a:ln>
        </p:spPr>
        <p:txBody>
          <a:bodyPr lIns="72000" rIns="72000" anchor="ctr"/>
          <a:lstStyle>
            <a:lvl1pPr marL="0" indent="0" algn="ctr">
              <a:spcBef>
                <a:spcPts val="0"/>
              </a:spcBef>
              <a:buNone/>
              <a:defRPr sz="1200" b="1" u="none">
                <a:solidFill>
                  <a:schemeClr val="bg1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434976" y="1644945"/>
            <a:ext cx="2593716" cy="267156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50" b="1"/>
            </a:lvl1pPr>
            <a:lvl2pPr marL="270272" indent="-138113">
              <a:buFont typeface="Arial" panose="020B0604020202020204" pitchFamily="34" charset="0"/>
              <a:buChar char="•"/>
              <a:defRPr sz="1050"/>
            </a:lvl2pPr>
            <a:lvl3pPr marL="540544" indent="-208360">
              <a:buFont typeface="Courier New" panose="02070309020205020404" pitchFamily="49" charset="0"/>
              <a:buChar char="o"/>
              <a:defRPr sz="1050" baseline="0"/>
            </a:lvl3pPr>
          </a:lstStyle>
          <a:p>
            <a:pPr lvl="0"/>
            <a:r>
              <a:rPr lang="en-US" dirty="0"/>
              <a:t>Text box (click to edit conten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20"/>
          </p:nvPr>
        </p:nvSpPr>
        <p:spPr>
          <a:xfrm>
            <a:off x="3125012" y="1176371"/>
            <a:ext cx="2817145" cy="396935"/>
          </a:xfrm>
          <a:prstGeom prst="chevron">
            <a:avLst>
              <a:gd name="adj" fmla="val 37296"/>
            </a:avLst>
          </a:prstGeom>
          <a:solidFill>
            <a:schemeClr val="accent4"/>
          </a:solidFill>
          <a:ln>
            <a:noFill/>
          </a:ln>
        </p:spPr>
        <p:txBody>
          <a:bodyPr lIns="72000" rIns="72000" anchor="ctr"/>
          <a:lstStyle>
            <a:lvl1pPr marL="0" indent="0" algn="ctr">
              <a:spcBef>
                <a:spcPts val="0"/>
              </a:spcBef>
              <a:buNone/>
              <a:defRPr sz="1200" b="1" u="none">
                <a:solidFill>
                  <a:schemeClr val="bg1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21"/>
          </p:nvPr>
        </p:nvSpPr>
        <p:spPr>
          <a:xfrm>
            <a:off x="5818561" y="1176371"/>
            <a:ext cx="2817145" cy="396935"/>
          </a:xfrm>
          <a:prstGeom prst="chevron">
            <a:avLst>
              <a:gd name="adj" fmla="val 37296"/>
            </a:avLst>
          </a:prstGeom>
          <a:solidFill>
            <a:schemeClr val="accent4"/>
          </a:solidFill>
          <a:ln>
            <a:noFill/>
          </a:ln>
        </p:spPr>
        <p:txBody>
          <a:bodyPr lIns="72000" rIns="72000" anchor="ctr"/>
          <a:lstStyle>
            <a:lvl1pPr marL="0" indent="0" algn="ctr">
              <a:spcBef>
                <a:spcPts val="0"/>
              </a:spcBef>
              <a:buNone/>
              <a:defRPr sz="1200" b="1" u="none">
                <a:solidFill>
                  <a:schemeClr val="bg1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6" name="Text Placeholder 20"/>
          <p:cNvSpPr>
            <a:spLocks noGrp="1"/>
          </p:cNvSpPr>
          <p:nvPr>
            <p:ph type="body" sz="quarter" idx="22" hasCustomPrompt="1"/>
          </p:nvPr>
        </p:nvSpPr>
        <p:spPr>
          <a:xfrm>
            <a:off x="3149837" y="1644945"/>
            <a:ext cx="2593716" cy="267156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50" b="1"/>
            </a:lvl1pPr>
            <a:lvl2pPr marL="270272" indent="-138113">
              <a:buFont typeface="Arial" panose="020B0604020202020204" pitchFamily="34" charset="0"/>
              <a:buChar char="•"/>
              <a:defRPr sz="1050"/>
            </a:lvl2pPr>
            <a:lvl3pPr marL="540544" indent="-208360">
              <a:buFont typeface="Courier New" panose="02070309020205020404" pitchFamily="49" charset="0"/>
              <a:buChar char="o"/>
              <a:defRPr sz="1050" baseline="0"/>
            </a:lvl3pPr>
          </a:lstStyle>
          <a:p>
            <a:pPr lvl="0"/>
            <a:r>
              <a:rPr lang="en-US" dirty="0"/>
              <a:t>Text box (click to edit conten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23" hasCustomPrompt="1"/>
          </p:nvPr>
        </p:nvSpPr>
        <p:spPr>
          <a:xfrm>
            <a:off x="5852286" y="1644945"/>
            <a:ext cx="2593716" cy="267156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50" b="1"/>
            </a:lvl1pPr>
            <a:lvl2pPr marL="270272" indent="-138113">
              <a:buFont typeface="Arial" panose="020B0604020202020204" pitchFamily="34" charset="0"/>
              <a:buChar char="•"/>
              <a:defRPr sz="1050"/>
            </a:lvl2pPr>
            <a:lvl3pPr marL="540544" indent="-208360">
              <a:buFont typeface="Courier New" panose="02070309020205020404" pitchFamily="49" charset="0"/>
              <a:buChar char="o"/>
              <a:defRPr sz="1050" baseline="0"/>
            </a:lvl3pPr>
          </a:lstStyle>
          <a:p>
            <a:pPr lvl="0"/>
            <a:r>
              <a:rPr lang="en-US" dirty="0"/>
              <a:t>Text box (click to edit conten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</p:spTree>
    <p:extLst>
      <p:ext uri="{BB962C8B-B14F-4D97-AF65-F5344CB8AC3E}">
        <p14:creationId xmlns:p14="http://schemas.microsoft.com/office/powerpoint/2010/main" val="17439345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51640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3939902"/>
            <a:ext cx="9144000" cy="129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0000" y="699694"/>
            <a:ext cx="6804328" cy="900068"/>
          </a:xfrm>
        </p:spPr>
        <p:txBody>
          <a:bodyPr lIns="0" tIns="0" rIns="0" bIns="0" anchor="t">
            <a:normAutofit/>
          </a:bodyPr>
          <a:lstStyle>
            <a:lvl1pPr>
              <a:defRPr sz="30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in Heading</a:t>
            </a:r>
            <a:endParaRPr lang="en-GB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83568" y="4371950"/>
            <a:ext cx="8003232" cy="660663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>
              <a:defRPr sz="2600">
                <a:solidFill>
                  <a:schemeClr val="bg1"/>
                </a:solidFill>
              </a:defRPr>
            </a:lvl2pPr>
            <a:lvl3pPr marL="1143000" indent="-228600">
              <a:buFont typeface="Wingdings" panose="05000000000000000000" pitchFamily="2" charset="2"/>
              <a:buChar char="§"/>
              <a:defRPr sz="2200">
                <a:solidFill>
                  <a:schemeClr val="bg1"/>
                </a:solidFill>
              </a:defRPr>
            </a:lvl3pPr>
            <a:lvl4pPr>
              <a:defRPr sz="2100"/>
            </a:lvl4pPr>
            <a:lvl5pPr>
              <a:defRPr sz="17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300192" y="4731990"/>
            <a:ext cx="2133600" cy="273844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4F2E129E-16B7-480B-972E-C025DBFD1D5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03558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975" y="121024"/>
            <a:ext cx="7726347" cy="625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>
            <a:lvl1pPr>
              <a:defRPr lang="en-GB" dirty="0"/>
            </a:lvl1pPr>
          </a:lstStyle>
          <a:p>
            <a:pPr lvl="0"/>
            <a:r>
              <a:rPr lang="en-US" dirty="0"/>
              <a:t>Narrative title style (no more than two lines long)</a:t>
            </a:r>
            <a:endParaRPr lang="en-GB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4952655" y="1714501"/>
            <a:ext cx="3574848" cy="2999012"/>
          </a:xfrm>
          <a:prstGeom prst="rect">
            <a:avLst/>
          </a:prstGeom>
        </p:spPr>
        <p:txBody>
          <a:bodyPr lIns="72000"/>
          <a:lstStyle>
            <a:lvl1pPr marL="0" indent="0">
              <a:buFont typeface="Arial" panose="020B0604020202020204" pitchFamily="34" charset="0"/>
              <a:buNone/>
              <a:defRPr sz="1050" b="1"/>
            </a:lvl1pPr>
            <a:lvl2pPr marL="270272" indent="-138113">
              <a:buFont typeface="Arial" panose="020B0604020202020204" pitchFamily="34" charset="0"/>
              <a:buChar char="•"/>
              <a:defRPr sz="1050"/>
            </a:lvl2pPr>
            <a:lvl3pPr marL="540544" indent="-208360">
              <a:buFont typeface="Courier New" panose="02070309020205020404" pitchFamily="49" charset="0"/>
              <a:buChar char="o"/>
              <a:defRPr sz="1050" baseline="0"/>
            </a:lvl3pPr>
          </a:lstStyle>
          <a:p>
            <a:pPr lvl="0"/>
            <a:r>
              <a:rPr lang="en-US" dirty="0"/>
              <a:t>Text box (click to edit conten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34974" y="1176372"/>
            <a:ext cx="3655386" cy="42719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rtlCol="0" anchor="b" anchorCtr="0">
            <a:noAutofit/>
          </a:bodyPr>
          <a:lstStyle>
            <a:lvl1pPr algn="ctr">
              <a:defRPr lang="en-US" kern="1200" dirty="0" smtClean="0">
                <a:solidFill>
                  <a:srgbClr val="000000"/>
                </a:solidFill>
              </a:defRPr>
            </a:lvl1pPr>
          </a:lstStyle>
          <a:p>
            <a:pPr lvl="0" algn="ctr"/>
            <a:r>
              <a:rPr lang="en-US" dirty="0"/>
              <a:t>Click to edit Box 1</a:t>
            </a:r>
          </a:p>
        </p:txBody>
      </p:sp>
      <p:sp>
        <p:nvSpPr>
          <p:cNvPr id="1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434976" y="1714501"/>
            <a:ext cx="3655385" cy="2999012"/>
          </a:xfrm>
          <a:prstGeom prst="rect">
            <a:avLst/>
          </a:prstGeom>
        </p:spPr>
        <p:txBody>
          <a:bodyPr lIns="72000"/>
          <a:lstStyle>
            <a:lvl1pPr marL="0" indent="0">
              <a:buFont typeface="Arial" panose="020B0604020202020204" pitchFamily="34" charset="0"/>
              <a:buNone/>
              <a:defRPr sz="1050" b="1"/>
            </a:lvl1pPr>
            <a:lvl2pPr marL="270272" indent="-138113">
              <a:buFont typeface="Arial" panose="020B0604020202020204" pitchFamily="34" charset="0"/>
              <a:buChar char="•"/>
              <a:defRPr sz="1050"/>
            </a:lvl2pPr>
            <a:lvl3pPr marL="540544" indent="-208360">
              <a:buFont typeface="Courier New" panose="02070309020205020404" pitchFamily="49" charset="0"/>
              <a:buChar char="o"/>
              <a:defRPr sz="1050" baseline="0"/>
            </a:lvl3pPr>
          </a:lstStyle>
          <a:p>
            <a:pPr lvl="0"/>
            <a:r>
              <a:rPr lang="en-US" dirty="0"/>
              <a:t>Text box (click to edit conten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4952655" y="1176372"/>
            <a:ext cx="3574848" cy="42719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vert="horz" wrap="square" lIns="0" tIns="91440" rIns="0" bIns="91440" numCol="1" rtlCol="0" anchor="b" anchorCtr="0" compatLnSpc="1">
            <a:prstTxWarp prst="textNoShape">
              <a:avLst/>
            </a:prstTxWarp>
            <a:noAutofit/>
          </a:bodyPr>
          <a:lstStyle>
            <a:lvl1pPr algn="ctr">
              <a:defRPr lang="en-US" kern="1200" dirty="0" smtClean="0">
                <a:solidFill>
                  <a:srgbClr val="000000"/>
                </a:solidFill>
              </a:defRPr>
            </a:lvl1pPr>
          </a:lstStyle>
          <a:p>
            <a:pPr lvl="0" algn="ctr"/>
            <a:r>
              <a:rPr lang="en-US" dirty="0"/>
              <a:t>Click to edit Box 2</a:t>
            </a:r>
          </a:p>
        </p:txBody>
      </p:sp>
    </p:spTree>
    <p:extLst>
      <p:ext uri="{BB962C8B-B14F-4D97-AF65-F5344CB8AC3E}">
        <p14:creationId xmlns:p14="http://schemas.microsoft.com/office/powerpoint/2010/main" val="9142917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9" y="119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9" y="1194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ext Placeholder 10"/>
          <p:cNvSpPr>
            <a:spLocks noGrp="1"/>
          </p:cNvSpPr>
          <p:nvPr>
            <p:ph type="body" idx="1"/>
          </p:nvPr>
        </p:nvSpPr>
        <p:spPr>
          <a:xfrm>
            <a:off x="434975" y="1176371"/>
            <a:ext cx="3634158" cy="396935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ox</a:t>
            </a:r>
          </a:p>
        </p:txBody>
      </p:sp>
      <p:sp>
        <p:nvSpPr>
          <p:cNvPr id="57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434975" y="1573306"/>
            <a:ext cx="3634158" cy="1210850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1050"/>
            </a:lvl1pPr>
          </a:lstStyle>
          <a:p>
            <a:r>
              <a:rPr lang="en-GB" dirty="0"/>
              <a:t>Box</a:t>
            </a:r>
          </a:p>
        </p:txBody>
      </p:sp>
      <p:sp>
        <p:nvSpPr>
          <p:cNvPr id="58" name="Title 1"/>
          <p:cNvSpPr>
            <a:spLocks noGrp="1"/>
          </p:cNvSpPr>
          <p:nvPr>
            <p:ph type="title" hasCustomPrompt="1"/>
          </p:nvPr>
        </p:nvSpPr>
        <p:spPr>
          <a:xfrm>
            <a:off x="434975" y="121024"/>
            <a:ext cx="7726347" cy="625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>
            <a:lvl1pPr>
              <a:defRPr lang="en-GB" dirty="0"/>
            </a:lvl1pPr>
          </a:lstStyle>
          <a:p>
            <a:pPr lvl="0"/>
            <a:r>
              <a:rPr lang="en-US" dirty="0"/>
              <a:t>Narrative title style (no more than two lines long)</a:t>
            </a:r>
            <a:endParaRPr lang="en-GB" dirty="0"/>
          </a:p>
        </p:txBody>
      </p:sp>
      <p:sp>
        <p:nvSpPr>
          <p:cNvPr id="60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434975" y="4719918"/>
            <a:ext cx="8274066" cy="228096"/>
          </a:xfrm>
          <a:prstGeom prst="rect">
            <a:avLst/>
          </a:prstGeo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750" b="0"/>
            </a:lvl1pPr>
            <a:lvl2pPr marL="270272" indent="-138113">
              <a:buFont typeface="Arial" panose="020B0604020202020204" pitchFamily="34" charset="0"/>
              <a:buChar char="•"/>
              <a:defRPr sz="1050"/>
            </a:lvl2pPr>
            <a:lvl3pPr marL="540544" indent="-208360">
              <a:buFont typeface="Courier New" panose="02070309020205020404" pitchFamily="49" charset="0"/>
              <a:buChar char="o"/>
              <a:defRPr sz="1050" baseline="0"/>
            </a:lvl3pPr>
          </a:lstStyle>
          <a:p>
            <a:pPr lvl="0"/>
            <a:r>
              <a:rPr lang="en-US" dirty="0"/>
              <a:t>Click to add notes or sources</a:t>
            </a:r>
          </a:p>
        </p:txBody>
      </p:sp>
      <p:sp>
        <p:nvSpPr>
          <p:cNvPr id="61" name="Text Placeholder 10"/>
          <p:cNvSpPr>
            <a:spLocks noGrp="1"/>
          </p:cNvSpPr>
          <p:nvPr>
            <p:ph type="body" idx="15"/>
          </p:nvPr>
        </p:nvSpPr>
        <p:spPr>
          <a:xfrm>
            <a:off x="4791821" y="1176371"/>
            <a:ext cx="3634158" cy="396935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ox</a:t>
            </a:r>
          </a:p>
        </p:txBody>
      </p:sp>
      <p:sp>
        <p:nvSpPr>
          <p:cNvPr id="62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791821" y="1573306"/>
            <a:ext cx="3634158" cy="1210850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1050"/>
            </a:lvl1pPr>
          </a:lstStyle>
          <a:p>
            <a:r>
              <a:rPr lang="en-GB" dirty="0"/>
              <a:t>Box</a:t>
            </a:r>
          </a:p>
        </p:txBody>
      </p:sp>
      <p:sp>
        <p:nvSpPr>
          <p:cNvPr id="63" name="Text Placeholder 10"/>
          <p:cNvSpPr>
            <a:spLocks noGrp="1"/>
          </p:cNvSpPr>
          <p:nvPr>
            <p:ph type="body" idx="17"/>
          </p:nvPr>
        </p:nvSpPr>
        <p:spPr>
          <a:xfrm>
            <a:off x="434975" y="2971553"/>
            <a:ext cx="3634158" cy="396935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ox</a:t>
            </a:r>
          </a:p>
        </p:txBody>
      </p:sp>
      <p:sp>
        <p:nvSpPr>
          <p:cNvPr id="64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434975" y="3368488"/>
            <a:ext cx="3634158" cy="1210850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1050"/>
            </a:lvl1pPr>
          </a:lstStyle>
          <a:p>
            <a:r>
              <a:rPr lang="en-GB" dirty="0"/>
              <a:t>Box</a:t>
            </a:r>
          </a:p>
        </p:txBody>
      </p:sp>
      <p:sp>
        <p:nvSpPr>
          <p:cNvPr id="65" name="Text Placeholder 10"/>
          <p:cNvSpPr>
            <a:spLocks noGrp="1"/>
          </p:cNvSpPr>
          <p:nvPr>
            <p:ph type="body" idx="19"/>
          </p:nvPr>
        </p:nvSpPr>
        <p:spPr>
          <a:xfrm>
            <a:off x="4791821" y="2971553"/>
            <a:ext cx="3634158" cy="396935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ox</a:t>
            </a:r>
          </a:p>
        </p:txBody>
      </p:sp>
      <p:sp>
        <p:nvSpPr>
          <p:cNvPr id="66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4791821" y="3368488"/>
            <a:ext cx="3634158" cy="1210850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1050"/>
            </a:lvl1pPr>
          </a:lstStyle>
          <a:p>
            <a:r>
              <a:rPr lang="en-GB" dirty="0"/>
              <a:t>Box</a:t>
            </a:r>
          </a:p>
        </p:txBody>
      </p:sp>
    </p:spTree>
    <p:extLst>
      <p:ext uri="{BB962C8B-B14F-4D97-AF65-F5344CB8AC3E}">
        <p14:creationId xmlns:p14="http://schemas.microsoft.com/office/powerpoint/2010/main" val="1987758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9" y="119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9" y="1194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5220" y="1828347"/>
            <a:ext cx="7725508" cy="483394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ctr" anchorCtr="0" compatLnSpc="1">
            <a:prstTxWarp prst="textNoShape">
              <a:avLst/>
            </a:prstTxWarp>
          </a:bodyPr>
          <a:lstStyle>
            <a:lvl1pPr>
              <a:defRPr lang="en-US" sz="1500" smtClean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>
              <a:defRPr lang="en-GB" sz="18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Section 2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35220" y="2374949"/>
            <a:ext cx="7725508" cy="483394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ctr" anchorCtr="0" compatLnSpc="1">
            <a:prstTxWarp prst="textNoShape">
              <a:avLst/>
            </a:prstTxWarp>
          </a:bodyPr>
          <a:lstStyle>
            <a:lvl1pPr>
              <a:defRPr lang="en-US" sz="1500" smtClean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>
              <a:defRPr lang="en-GB" sz="18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Section 3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5220" y="2921550"/>
            <a:ext cx="7725508" cy="483394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ctr" anchorCtr="0" compatLnSpc="1">
            <a:prstTxWarp prst="textNoShape">
              <a:avLst/>
            </a:prstTxWarp>
          </a:bodyPr>
          <a:lstStyle>
            <a:lvl1pPr>
              <a:defRPr lang="en-US" sz="150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>
              <a:defRPr lang="en-GB" sz="18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This section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35220" y="3468152"/>
            <a:ext cx="7725508" cy="483394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ctr" anchorCtr="0" compatLnSpc="1">
            <a:prstTxWarp prst="textNoShape">
              <a:avLst/>
            </a:prstTxWarp>
          </a:bodyPr>
          <a:lstStyle>
            <a:lvl1pPr>
              <a:defRPr lang="en-US" sz="1500" smtClean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>
              <a:defRPr lang="en-GB" sz="18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Section 5</a:t>
            </a:r>
            <a:endParaRPr lang="en-GB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35220" y="1281744"/>
            <a:ext cx="7725508" cy="483394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ctr" anchorCtr="0" compatLnSpc="1">
            <a:prstTxWarp prst="textNoShape">
              <a:avLst/>
            </a:prstTxWarp>
          </a:bodyPr>
          <a:lstStyle>
            <a:lvl1pPr>
              <a:defRPr lang="en-US" sz="1500" baseline="0" smtClean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>
              <a:defRPr lang="en-GB" sz="18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Section 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05170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9" y="119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9" y="1194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975" y="122635"/>
            <a:ext cx="7726347" cy="62388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77264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9" y="119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9" y="1194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479840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63E1ECA-DDFC-4075-A89E-A23CBE1348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D586BAD0-75F1-4108-A72C-528C537813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BC8CF64B-5AE8-4B8F-B988-BFB7B7548F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9D6EA-53C1-4056-A5B8-5AF66D913895}" type="datetime1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15/06/2018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EA3FA65-C656-485C-81AC-41F76D7C7B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0F0F0F">
                    <a:tint val="75000"/>
                  </a:srgbClr>
                </a:solidFill>
              </a:rPr>
              <a:t>Click to edit master footer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0E79DED6-FB47-497E-AB6D-D074BBB625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2E129E-16B7-480B-972E-C025DBFD1D53}" type="slidenum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29275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27A1ADFC-22E7-46CE-8BC9-D06D3B59B1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CACF6585-7630-4834-85AD-40DBB4E95C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EBD14781-A7FE-4BFA-B20C-7E019E0A83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9D6EA-53C1-4056-A5B8-5AF66D913895}" type="datetime1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15/06/2018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0FCE4B7E-CA5F-4BC4-8741-A4E4430FE6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0F0F0F">
                    <a:tint val="75000"/>
                  </a:srgbClr>
                </a:solidFill>
              </a:rPr>
              <a:t>Click to edit master footer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43C164B6-0258-4535-BBD8-E65D32EC37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2E129E-16B7-480B-972E-C025DBFD1D53}" type="slidenum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6398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7101F40-3124-4A36-BE70-4D97D48DD3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4BFBF4EE-575D-4AEA-BF05-857633BAC3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67FEA56D-63CA-427E-83B2-E460414519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9D6EA-53C1-4056-A5B8-5AF66D913895}" type="datetime1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15/06/2018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0278EDDC-FB6B-4075-B428-7764DA3B44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0F0F0F">
                    <a:tint val="75000"/>
                  </a:srgbClr>
                </a:solidFill>
              </a:rPr>
              <a:t>Click to edit master footer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55D0BDE-4955-439D-A01C-0F60176834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2E129E-16B7-480B-972E-C025DBFD1D53}" type="slidenum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480457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D67220B5-F2B6-4A78-824A-894510E483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79FE1C0F-31FD-4018-A945-7A147C1AB1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C1ED4EA5-2578-401E-AF81-F098D8915D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9D6EA-53C1-4056-A5B8-5AF66D913895}" type="datetime1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15/06/2018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7D991B51-99B4-4E5E-A327-0815E333D0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0F0F0F">
                    <a:tint val="75000"/>
                  </a:srgbClr>
                </a:solidFill>
              </a:rPr>
              <a:t>Click to edit master footer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45D0CF90-D64C-4208-A2D6-937623B7A1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2E129E-16B7-480B-972E-C025DBFD1D53}" type="slidenum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617988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FADA01D-6608-4345-885E-6F280A7E90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E2E12BF9-1BB0-4B0A-A3B9-51DB99FB24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E551754B-BA08-4018-B656-E79A4DD95B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9D6EA-53C1-4056-A5B8-5AF66D913895}" type="datetime1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15/06/2018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BD4DD58C-07EC-4233-89D4-D7282CAF37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0F0F0F">
                    <a:tint val="75000"/>
                  </a:srgbClr>
                </a:solidFill>
              </a:rPr>
              <a:t>Click to edit master footer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54712A10-BF20-4A57-A54D-A78E53F2EE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2E129E-16B7-480B-972E-C025DBFD1D53}" type="slidenum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84891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439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0" y="4356000"/>
            <a:ext cx="9144000" cy="79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755576" y="1398235"/>
            <a:ext cx="60486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600"/>
              </a:lnSpc>
            </a:pPr>
            <a:r>
              <a:rPr lang="en-GB" sz="3000" b="1" kern="1200" dirty="0">
                <a:solidFill>
                  <a:srgbClr val="FAE100"/>
                </a:solidFill>
                <a:effectLst/>
                <a:latin typeface="+mn-lt"/>
                <a:ea typeface="+mn-ea"/>
                <a:cs typeface="+mn-cs"/>
              </a:rPr>
              <a:t>Questions</a:t>
            </a:r>
          </a:p>
        </p:txBody>
      </p:sp>
      <p:pic>
        <p:nvPicPr>
          <p:cNvPr id="2050" name="Picture 2" descr="C:\Users\DShaplan\AppData\Local\Temp\Rar$DIa0.409\NHS 10mm - RGB Blue on white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4805" y="379302"/>
            <a:ext cx="1183973" cy="475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43140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936000"/>
            <a:ext cx="9144000" cy="4207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0000" y="360000"/>
            <a:ext cx="7632000" cy="529568"/>
          </a:xfrm>
        </p:spPr>
        <p:txBody>
          <a:bodyPr lIns="0" tIns="0" rIns="0" bIns="0" anchor="t">
            <a:normAutofit/>
          </a:bodyPr>
          <a:lstStyle>
            <a:lvl1pPr>
              <a:defRPr sz="2800" b="1" spc="-4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in Heading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0000" y="1080000"/>
            <a:ext cx="7704000" cy="3435966"/>
          </a:xfrm>
        </p:spPr>
        <p:txBody>
          <a:bodyPr lIns="0" tIns="0" rIns="0" bIns="0"/>
          <a:lstStyle>
            <a:lvl1pPr>
              <a:defRPr sz="2400">
                <a:solidFill>
                  <a:schemeClr val="accent6"/>
                </a:solidFill>
              </a:defRPr>
            </a:lvl1pPr>
            <a:lvl2pPr>
              <a:defRPr sz="2100">
                <a:solidFill>
                  <a:schemeClr val="accent6"/>
                </a:solidFill>
              </a:defRPr>
            </a:lvl2pPr>
            <a:lvl3pPr marL="1143000" indent="-228600">
              <a:buFont typeface="Wingdings" panose="05000000000000000000" pitchFamily="2" charset="2"/>
              <a:buChar char="§"/>
              <a:defRPr sz="1800">
                <a:solidFill>
                  <a:schemeClr val="accent6"/>
                </a:solidFill>
              </a:defRPr>
            </a:lvl3pPr>
            <a:lvl4pPr>
              <a:defRPr sz="2100"/>
            </a:lvl4pPr>
            <a:lvl5pPr>
              <a:defRPr sz="17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300192" y="4731990"/>
            <a:ext cx="2133600" cy="273844"/>
          </a:xfrm>
        </p:spPr>
        <p:txBody>
          <a:bodyPr/>
          <a:lstStyle>
            <a:lvl1pPr>
              <a:defRPr sz="1000">
                <a:solidFill>
                  <a:schemeClr val="accent6"/>
                </a:solidFill>
              </a:defRPr>
            </a:lvl1pPr>
          </a:lstStyle>
          <a:p>
            <a:fld id="{280AA684-6FB9-400F-B313-F111F0F48737}" type="slidenum">
              <a:rPr lang="en-GB" smtClean="0">
                <a:solidFill>
                  <a:srgbClr val="424D58"/>
                </a:solidFill>
              </a:rPr>
              <a:pPr/>
              <a:t>‹#›</a:t>
            </a:fld>
            <a:endParaRPr lang="en-GB" dirty="0">
              <a:solidFill>
                <a:srgbClr val="424D5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28846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unchy statement">
    <p:bg>
      <p:bgPr>
        <a:solidFill>
          <a:srgbClr val="005E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Shape 95"/>
          <p:cNvSpPr>
            <a:spLocks noGrp="1"/>
          </p:cNvSpPr>
          <p:nvPr>
            <p:ph type="title"/>
          </p:nvPr>
        </p:nvSpPr>
        <p:spPr>
          <a:xfrm>
            <a:off x="490256" y="462575"/>
            <a:ext cx="8188801" cy="4154700"/>
          </a:xfrm>
          <a:prstGeom prst="rect">
            <a:avLst/>
          </a:prstGeom>
        </p:spPr>
        <p:txBody>
          <a:bodyPr lIns="51423" tIns="51423" rIns="51423" bIns="51423"/>
          <a:lstStyle>
            <a:lvl1pPr>
              <a:lnSpc>
                <a:spcPct val="90000"/>
              </a:lnSpc>
              <a:defRPr sz="4100" b="1">
                <a:solidFill>
                  <a:srgbClr val="FFFFFF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96" name="Shape 9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0F0F0F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0F0F0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4818378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936000"/>
            <a:ext cx="9144000" cy="4207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0000" y="360000"/>
            <a:ext cx="7632000" cy="529568"/>
          </a:xfrm>
        </p:spPr>
        <p:txBody>
          <a:bodyPr lIns="0" tIns="0" rIns="0" bIns="0" anchor="t">
            <a:normAutofit/>
          </a:bodyPr>
          <a:lstStyle>
            <a:lvl1pPr>
              <a:defRPr sz="2800" b="1" spc="-4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in Heading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0000" y="1080000"/>
            <a:ext cx="7704000" cy="3435966"/>
          </a:xfrm>
        </p:spPr>
        <p:txBody>
          <a:bodyPr lIns="0" tIns="0" rIns="0" bIns="0"/>
          <a:lstStyle>
            <a:lvl1pPr>
              <a:defRPr sz="2400">
                <a:solidFill>
                  <a:schemeClr val="accent6"/>
                </a:solidFill>
              </a:defRPr>
            </a:lvl1pPr>
            <a:lvl2pPr>
              <a:defRPr sz="2100">
                <a:solidFill>
                  <a:schemeClr val="accent6"/>
                </a:solidFill>
              </a:defRPr>
            </a:lvl2pPr>
            <a:lvl3pPr marL="1143000" indent="-228600">
              <a:buFont typeface="Wingdings" panose="05000000000000000000" pitchFamily="2" charset="2"/>
              <a:buChar char="§"/>
              <a:defRPr sz="1800">
                <a:solidFill>
                  <a:schemeClr val="accent6"/>
                </a:solidFill>
              </a:defRPr>
            </a:lvl3pPr>
            <a:lvl4pPr>
              <a:defRPr sz="2100"/>
            </a:lvl4pPr>
            <a:lvl5pPr>
              <a:defRPr sz="17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300192" y="4731990"/>
            <a:ext cx="2133600" cy="273844"/>
          </a:xfrm>
        </p:spPr>
        <p:txBody>
          <a:bodyPr/>
          <a:lstStyle>
            <a:lvl1pPr>
              <a:defRPr sz="1000">
                <a:solidFill>
                  <a:schemeClr val="accent6"/>
                </a:solidFill>
              </a:defRPr>
            </a:lvl1pPr>
          </a:lstStyle>
          <a:p>
            <a:fld id="{280AA684-6FB9-400F-B313-F111F0F48737}" type="slidenum">
              <a:rPr lang="en-GB" smtClean="0">
                <a:solidFill>
                  <a:srgbClr val="424D58"/>
                </a:solidFill>
              </a:rPr>
              <a:pPr/>
              <a:t>‹#›</a:t>
            </a:fld>
            <a:endParaRPr lang="en-GB" dirty="0">
              <a:solidFill>
                <a:srgbClr val="424D5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688503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unchy statement">
    <p:bg>
      <p:bgPr>
        <a:solidFill>
          <a:srgbClr val="005E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Shape 95"/>
          <p:cNvSpPr>
            <a:spLocks noGrp="1"/>
          </p:cNvSpPr>
          <p:nvPr>
            <p:ph type="title"/>
          </p:nvPr>
        </p:nvSpPr>
        <p:spPr>
          <a:xfrm>
            <a:off x="490256" y="462575"/>
            <a:ext cx="8188801" cy="4154700"/>
          </a:xfrm>
          <a:prstGeom prst="rect">
            <a:avLst/>
          </a:prstGeom>
        </p:spPr>
        <p:txBody>
          <a:bodyPr lIns="51423" tIns="51423" rIns="51423" bIns="51423"/>
          <a:lstStyle>
            <a:lvl1pPr>
              <a:lnSpc>
                <a:spcPct val="90000"/>
              </a:lnSpc>
              <a:defRPr sz="4100" b="1">
                <a:solidFill>
                  <a:srgbClr val="FFFFFF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96" name="Shape 9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0F0F0F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0F0F0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5227535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51640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0000" y="699694"/>
            <a:ext cx="6804328" cy="900068"/>
          </a:xfrm>
        </p:spPr>
        <p:txBody>
          <a:bodyPr lIns="0" tIns="0" rIns="0" bIns="0" anchor="t">
            <a:normAutofit/>
          </a:bodyPr>
          <a:lstStyle>
            <a:lvl1pPr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ain Heading</a:t>
            </a:r>
            <a:endParaRPr lang="en-GB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83568" y="4371950"/>
            <a:ext cx="8003232" cy="660663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2100">
                <a:solidFill>
                  <a:schemeClr val="bg1"/>
                </a:solidFill>
              </a:defRPr>
            </a:lvl1pPr>
            <a:lvl2pPr>
              <a:defRPr sz="2600">
                <a:solidFill>
                  <a:schemeClr val="bg1"/>
                </a:solidFill>
              </a:defRPr>
            </a:lvl2pPr>
            <a:lvl3pPr marL="1143000" indent="-228600">
              <a:buFont typeface="Wingdings" panose="05000000000000000000" pitchFamily="2" charset="2"/>
              <a:buChar char="§"/>
              <a:defRPr sz="2200">
                <a:solidFill>
                  <a:schemeClr val="bg1"/>
                </a:solidFill>
              </a:defRPr>
            </a:lvl3pPr>
            <a:lvl4pPr>
              <a:defRPr sz="2100"/>
            </a:lvl4pPr>
            <a:lvl5pPr>
              <a:defRPr sz="17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300192" y="4731990"/>
            <a:ext cx="2133600" cy="273844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4F2E129E-16B7-480B-972E-C025DBFD1D53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426293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Content 1">
  <p:cSld name="3_Title and Content 1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Shape 41"/>
          <p:cNvSpPr/>
          <p:nvPr/>
        </p:nvSpPr>
        <p:spPr>
          <a:xfrm>
            <a:off x="0" y="936000"/>
            <a:ext cx="9144000" cy="4207500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txBody>
          <a:bodyPr spcFirstLastPara="1" wrap="square" lIns="82283" tIns="41130" rIns="82283" bIns="4113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162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2" name="Shape 42"/>
          <p:cNvSpPr/>
          <p:nvPr/>
        </p:nvSpPr>
        <p:spPr>
          <a:xfrm>
            <a:off x="0" y="0"/>
            <a:ext cx="9144000" cy="93609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82283" tIns="41130" rIns="82283" bIns="41130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endParaRPr sz="1620" dirty="0">
              <a:solidFill>
                <a:srgbClr val="FFFFFF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4" name="Shape 44"/>
          <p:cNvSpPr txBox="1">
            <a:spLocks noGrp="1"/>
          </p:cNvSpPr>
          <p:nvPr>
            <p:ph type="sldNum" idx="12"/>
          </p:nvPr>
        </p:nvSpPr>
        <p:spPr>
          <a:xfrm>
            <a:off x="6300192" y="4731989"/>
            <a:ext cx="2133600" cy="2737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rgbClr val="FFFFFF"/>
              </a:buClr>
            </a:pPr>
            <a:fld id="{00000000-1234-1234-1234-123412341234}" type="slidenum">
              <a:rPr lang="en-US" smtClean="0">
                <a:solidFill>
                  <a:srgbClr val="FFFFFF"/>
                </a:solidFill>
              </a:rPr>
              <a:pPr>
                <a:buClr>
                  <a:srgbClr val="FFFFFF"/>
                </a:buClr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5" name="Shape 45"/>
          <p:cNvSpPr txBox="1">
            <a:spLocks noGrp="1"/>
          </p:cNvSpPr>
          <p:nvPr>
            <p:ph type="body" idx="1"/>
          </p:nvPr>
        </p:nvSpPr>
        <p:spPr>
          <a:xfrm>
            <a:off x="339000" y="1179495"/>
            <a:ext cx="8085000" cy="36795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11480" marR="0" lvl="0" indent="-342900" algn="l" rtl="0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Char char="•"/>
              <a:defRPr sz="216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822960" marR="0" lvl="1" indent="-325755" algn="l" rtl="0">
              <a:lnSpc>
                <a:spcPct val="100000"/>
              </a:lnSpc>
              <a:spcBef>
                <a:spcPts val="378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Arial"/>
              <a:buChar char="–"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234440" marR="0" lvl="2" indent="-308610" algn="l" rtl="0">
              <a:lnSpc>
                <a:spcPct val="100000"/>
              </a:lnSpc>
              <a:spcBef>
                <a:spcPts val="324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Noto Sans Symbols"/>
              <a:buChar char="▪"/>
              <a:defRPr sz="162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45920" marR="0" lvl="3" indent="-325755" algn="l" rtl="0">
              <a:lnSpc>
                <a:spcPct val="100000"/>
              </a:lnSpc>
              <a:spcBef>
                <a:spcPts val="378"/>
              </a:spcBef>
              <a:spcAft>
                <a:spcPts val="0"/>
              </a:spcAft>
              <a:buClr>
                <a:schemeClr val="accent1"/>
              </a:buClr>
              <a:buSzPts val="2100"/>
              <a:buFont typeface="Arial"/>
              <a:buChar char="–"/>
              <a:defRPr sz="189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lvl="4" indent="-305753" algn="l" rtl="0">
              <a:lnSpc>
                <a:spcPct val="100000"/>
              </a:lnSpc>
              <a:spcBef>
                <a:spcPts val="315"/>
              </a:spcBef>
              <a:spcAft>
                <a:spcPts val="0"/>
              </a:spcAft>
              <a:buClr>
                <a:schemeClr val="accent1"/>
              </a:buClr>
              <a:buSzPts val="1750"/>
              <a:buFont typeface="Arial"/>
              <a:buChar char="»"/>
              <a:defRPr sz="1575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468880" marR="0" lvl="5" indent="-32004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880360" marR="0" lvl="6" indent="-32004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91840" marR="0" lvl="7" indent="-32004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703320" marR="0" lvl="8" indent="-32004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6" name="Shape 46"/>
          <p:cNvSpPr txBox="1">
            <a:spLocks noGrp="1"/>
          </p:cNvSpPr>
          <p:nvPr>
            <p:ph type="title"/>
          </p:nvPr>
        </p:nvSpPr>
        <p:spPr>
          <a:xfrm>
            <a:off x="339000" y="0"/>
            <a:ext cx="7632000" cy="9360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Font typeface="Open Sans"/>
              <a:buNone/>
              <a:defRPr sz="270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1059837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439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4356000"/>
            <a:ext cx="9144000" cy="79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0000" y="1728000"/>
            <a:ext cx="6660312" cy="483558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3000" b="1" spc="-4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heading in 30pt Arial Bold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2268000"/>
            <a:ext cx="6660312" cy="444553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2100" b="1">
                <a:solidFill>
                  <a:srgbClr val="FAE100"/>
                </a:solidFill>
              </a:defRPr>
            </a:lvl1pPr>
          </a:lstStyle>
          <a:p>
            <a:r>
              <a:rPr lang="en-US" dirty="0"/>
              <a:t>Subheading in 21pt Arial Bold</a:t>
            </a:r>
            <a:endParaRPr lang="en-GB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644008" y="4464000"/>
            <a:ext cx="3924008" cy="540000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15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Presented by… in 15pt Arial Bold</a:t>
            </a:r>
            <a:endParaRPr lang="en-GB" dirty="0"/>
          </a:p>
        </p:txBody>
      </p:sp>
      <p:pic>
        <p:nvPicPr>
          <p:cNvPr id="13" name="Picture 2" descr="C:\Users\DShaplan\AppData\Local\Temp\Rar$DIa0.409\NHS 10mm - RGB Blue on white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4805" y="379302"/>
            <a:ext cx="1183973" cy="475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696368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439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4356000"/>
            <a:ext cx="9144000" cy="79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0000" y="1728000"/>
            <a:ext cx="6660312" cy="483558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3000" b="1" spc="-4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heading in 30pt Arial Bold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2268000"/>
            <a:ext cx="6660312" cy="444553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2100" b="1">
                <a:solidFill>
                  <a:srgbClr val="FAE100"/>
                </a:solidFill>
              </a:defRPr>
            </a:lvl1pPr>
          </a:lstStyle>
          <a:p>
            <a:r>
              <a:rPr lang="en-US" dirty="0"/>
              <a:t>Subheading in 21pt Arial Bold</a:t>
            </a:r>
            <a:endParaRPr lang="en-GB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644008" y="4464000"/>
            <a:ext cx="3924008" cy="540000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15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Presented by… in 15pt Arial Bold</a:t>
            </a:r>
            <a:endParaRPr lang="en-GB" dirty="0"/>
          </a:p>
        </p:txBody>
      </p:sp>
      <p:pic>
        <p:nvPicPr>
          <p:cNvPr id="13" name="Picture 2" descr="C:\Users\DShaplan\AppData\Local\Temp\Rar$DIa0.409\NHS 10mm - RGB Blue on white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4805" y="379302"/>
            <a:ext cx="1183973" cy="475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471081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936000"/>
            <a:ext cx="9144000" cy="4207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0000" y="360000"/>
            <a:ext cx="7632000" cy="529568"/>
          </a:xfrm>
        </p:spPr>
        <p:txBody>
          <a:bodyPr lIns="0" tIns="0" rIns="0" bIns="0" anchor="t">
            <a:normAutofit/>
          </a:bodyPr>
          <a:lstStyle>
            <a:lvl1pPr>
              <a:defRPr sz="3000" b="1" spc="-4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in Heading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0000" y="1080000"/>
            <a:ext cx="7704000" cy="3435966"/>
          </a:xfrm>
        </p:spPr>
        <p:txBody>
          <a:bodyPr lIns="0" tIns="0" rIns="0" bIns="0"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00">
                <a:solidFill>
                  <a:schemeClr val="bg1"/>
                </a:solidFill>
              </a:defRPr>
            </a:lvl2pPr>
            <a:lvl3pPr marL="1143000" indent="-228600"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3pPr>
            <a:lvl4pPr>
              <a:defRPr sz="2100"/>
            </a:lvl4pPr>
            <a:lvl5pPr>
              <a:defRPr sz="17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300192" y="4731990"/>
            <a:ext cx="2133600" cy="273844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280AA684-6FB9-400F-B313-F111F0F48737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9911260"/>
      </p:ext>
    </p:extLst>
  </p:cSld>
  <p:clrMapOvr>
    <a:masterClrMapping/>
  </p:clrMapOvr>
  <p:hf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51640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3939902"/>
            <a:ext cx="9144000" cy="129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0000" y="699694"/>
            <a:ext cx="6804328" cy="900068"/>
          </a:xfrm>
        </p:spPr>
        <p:txBody>
          <a:bodyPr lIns="0" tIns="0" rIns="0" bIns="0" anchor="t">
            <a:normAutofit/>
          </a:bodyPr>
          <a:lstStyle>
            <a:lvl1pPr>
              <a:defRPr sz="30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in Heading</a:t>
            </a:r>
            <a:endParaRPr lang="en-GB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83568" y="4371950"/>
            <a:ext cx="8003232" cy="660663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2100" b="1">
                <a:solidFill>
                  <a:schemeClr val="bg1"/>
                </a:solidFill>
              </a:defRPr>
            </a:lvl1pPr>
            <a:lvl2pPr>
              <a:defRPr sz="2600">
                <a:solidFill>
                  <a:schemeClr val="bg1"/>
                </a:solidFill>
              </a:defRPr>
            </a:lvl2pPr>
            <a:lvl3pPr marL="1143000" indent="-228600">
              <a:buFont typeface="Wingdings" panose="05000000000000000000" pitchFamily="2" charset="2"/>
              <a:buChar char="§"/>
              <a:defRPr sz="2200">
                <a:solidFill>
                  <a:schemeClr val="bg1"/>
                </a:solidFill>
              </a:defRPr>
            </a:lvl3pPr>
            <a:lvl4pPr>
              <a:defRPr sz="2100"/>
            </a:lvl4pPr>
            <a:lvl5pPr>
              <a:defRPr sz="17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300192" y="4731990"/>
            <a:ext cx="2133600" cy="273844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4F2E129E-16B7-480B-972E-C025DBFD1D53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4730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unchy statem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Shape 95"/>
          <p:cNvSpPr>
            <a:spLocks noGrp="1"/>
          </p:cNvSpPr>
          <p:nvPr>
            <p:ph type="title"/>
          </p:nvPr>
        </p:nvSpPr>
        <p:spPr>
          <a:xfrm>
            <a:off x="490250" y="462575"/>
            <a:ext cx="8188801" cy="4154700"/>
          </a:xfrm>
          <a:prstGeom prst="rect">
            <a:avLst/>
          </a:prstGeom>
        </p:spPr>
        <p:txBody>
          <a:bodyPr lIns="68574" tIns="68574" rIns="68574" bIns="68574"/>
          <a:lstStyle>
            <a:lvl1pPr>
              <a:lnSpc>
                <a:spcPct val="90000"/>
              </a:lnSpc>
              <a:defRPr sz="5400" b="1">
                <a:solidFill>
                  <a:srgbClr val="FFFFFF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96" name="Shape 9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98991782"/>
      </p:ext>
    </p:extLst>
  </p:cSld>
  <p:clrMapOvr>
    <a:masterClrMapping/>
  </p:clrMapOvr>
  <p:transition spd="med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439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4356000"/>
            <a:ext cx="9144000" cy="79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755576" y="1398235"/>
            <a:ext cx="60486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600"/>
              </a:lnSpc>
            </a:pPr>
            <a:r>
              <a:rPr lang="en-GB" sz="3000" b="1" dirty="0">
                <a:solidFill>
                  <a:srgbClr val="FAE100"/>
                </a:solidFill>
              </a:rPr>
              <a:t>Questions</a:t>
            </a:r>
          </a:p>
        </p:txBody>
      </p:sp>
      <p:pic>
        <p:nvPicPr>
          <p:cNvPr id="2050" name="Picture 2" descr="C:\Users\DShaplan\AppData\Local\Temp\Rar$DIa0.409\NHS 10mm - RGB Blue on white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4805" y="379302"/>
            <a:ext cx="1183973" cy="475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809755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tatement" type="titleOnly">
  <p:cSld name="Statement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 txBox="1">
            <a:spLocks noGrp="1"/>
          </p:cNvSpPr>
          <p:nvPr>
            <p:ph type="title"/>
          </p:nvPr>
        </p:nvSpPr>
        <p:spPr>
          <a:xfrm>
            <a:off x="480125" y="526350"/>
            <a:ext cx="8176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lvl="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72C6"/>
              </a:buClr>
              <a:buSzPts val="4200"/>
              <a:buFont typeface="Helvetica Neue"/>
              <a:buNone/>
              <a:defRPr sz="4200">
                <a:solidFill>
                  <a:srgbClr val="0072C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72C6"/>
              </a:buClr>
              <a:buSzPts val="4200"/>
              <a:buNone/>
              <a:defRPr sz="4200">
                <a:solidFill>
                  <a:srgbClr val="0072C6"/>
                </a:solidFill>
              </a:defRPr>
            </a:lvl2pPr>
            <a:lvl3pPr lvl="2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72C6"/>
              </a:buClr>
              <a:buSzPts val="4200"/>
              <a:buNone/>
              <a:defRPr sz="4200">
                <a:solidFill>
                  <a:srgbClr val="0072C6"/>
                </a:solidFill>
              </a:defRPr>
            </a:lvl3pPr>
            <a:lvl4pPr lvl="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72C6"/>
              </a:buClr>
              <a:buSzPts val="4200"/>
              <a:buNone/>
              <a:defRPr sz="4200">
                <a:solidFill>
                  <a:srgbClr val="0072C6"/>
                </a:solidFill>
              </a:defRPr>
            </a:lvl4pPr>
            <a:lvl5pPr lvl="4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72C6"/>
              </a:buClr>
              <a:buSzPts val="4200"/>
              <a:buNone/>
              <a:defRPr sz="4200">
                <a:solidFill>
                  <a:srgbClr val="0072C6"/>
                </a:solidFill>
              </a:defRPr>
            </a:lvl5pPr>
            <a:lvl6pPr lvl="5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72C6"/>
              </a:buClr>
              <a:buSzPts val="4200"/>
              <a:buNone/>
              <a:defRPr sz="4200">
                <a:solidFill>
                  <a:srgbClr val="0072C6"/>
                </a:solidFill>
              </a:defRPr>
            </a:lvl6pPr>
            <a:lvl7pPr lvl="6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72C6"/>
              </a:buClr>
              <a:buSzPts val="4200"/>
              <a:buNone/>
              <a:defRPr sz="4200">
                <a:solidFill>
                  <a:srgbClr val="0072C6"/>
                </a:solidFill>
              </a:defRPr>
            </a:lvl7pPr>
            <a:lvl8pPr lvl="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72C6"/>
              </a:buClr>
              <a:buSzPts val="4200"/>
              <a:buNone/>
              <a:defRPr sz="4200">
                <a:solidFill>
                  <a:srgbClr val="0072C6"/>
                </a:solidFill>
              </a:defRPr>
            </a:lvl8pPr>
            <a:lvl9pPr lvl="8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72C6"/>
              </a:buClr>
              <a:buSzPts val="4200"/>
              <a:buNone/>
              <a:defRPr sz="4200">
                <a:solidFill>
                  <a:srgbClr val="0072C6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561963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Content 1">
  <p:cSld name="3_Title and Content 1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Shape 41"/>
          <p:cNvSpPr/>
          <p:nvPr/>
        </p:nvSpPr>
        <p:spPr>
          <a:xfrm>
            <a:off x="0" y="936000"/>
            <a:ext cx="9144000" cy="4207500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txBody>
          <a:bodyPr spcFirstLastPara="1" wrap="square" lIns="82283" tIns="41130" rIns="82283" bIns="4113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62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" name="Shape 42"/>
          <p:cNvSpPr/>
          <p:nvPr/>
        </p:nvSpPr>
        <p:spPr>
          <a:xfrm>
            <a:off x="0" y="0"/>
            <a:ext cx="9144000" cy="93609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82283" tIns="41130" rIns="82283" bIns="4113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62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" name="Shape 44"/>
          <p:cNvSpPr txBox="1">
            <a:spLocks noGrp="1"/>
          </p:cNvSpPr>
          <p:nvPr>
            <p:ph type="sldNum" idx="12"/>
          </p:nvPr>
        </p:nvSpPr>
        <p:spPr>
          <a:xfrm>
            <a:off x="6300192" y="4731989"/>
            <a:ext cx="2133600" cy="2737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5" name="Shape 45"/>
          <p:cNvSpPr txBox="1">
            <a:spLocks noGrp="1"/>
          </p:cNvSpPr>
          <p:nvPr>
            <p:ph type="body" idx="1"/>
          </p:nvPr>
        </p:nvSpPr>
        <p:spPr>
          <a:xfrm>
            <a:off x="339000" y="1179495"/>
            <a:ext cx="8085000" cy="36795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11480" marR="0" lvl="0" indent="-342900" algn="l" rtl="0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Char char="•"/>
              <a:defRPr sz="216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822960" marR="0" lvl="1" indent="-325755" algn="l" rtl="0">
              <a:lnSpc>
                <a:spcPct val="100000"/>
              </a:lnSpc>
              <a:spcBef>
                <a:spcPts val="378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Arial"/>
              <a:buChar char="–"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234440" marR="0" lvl="2" indent="-308610" algn="l" rtl="0">
              <a:lnSpc>
                <a:spcPct val="100000"/>
              </a:lnSpc>
              <a:spcBef>
                <a:spcPts val="324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Noto Sans Symbols"/>
              <a:buChar char="▪"/>
              <a:defRPr sz="162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45920" marR="0" lvl="3" indent="-325755" algn="l" rtl="0">
              <a:lnSpc>
                <a:spcPct val="100000"/>
              </a:lnSpc>
              <a:spcBef>
                <a:spcPts val="378"/>
              </a:spcBef>
              <a:spcAft>
                <a:spcPts val="0"/>
              </a:spcAft>
              <a:buClr>
                <a:schemeClr val="accent1"/>
              </a:buClr>
              <a:buSzPts val="2100"/>
              <a:buFont typeface="Arial"/>
              <a:buChar char="–"/>
              <a:defRPr sz="189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lvl="4" indent="-305753" algn="l" rtl="0">
              <a:lnSpc>
                <a:spcPct val="100000"/>
              </a:lnSpc>
              <a:spcBef>
                <a:spcPts val="315"/>
              </a:spcBef>
              <a:spcAft>
                <a:spcPts val="0"/>
              </a:spcAft>
              <a:buClr>
                <a:schemeClr val="accent1"/>
              </a:buClr>
              <a:buSzPts val="1750"/>
              <a:buFont typeface="Arial"/>
              <a:buChar char="»"/>
              <a:defRPr sz="1575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468880" marR="0" lvl="5" indent="-32004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880360" marR="0" lvl="6" indent="-32004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91840" marR="0" lvl="7" indent="-32004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703320" marR="0" lvl="8" indent="-32004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6" name="Shape 46"/>
          <p:cNvSpPr txBox="1">
            <a:spLocks noGrp="1"/>
          </p:cNvSpPr>
          <p:nvPr>
            <p:ph type="title"/>
          </p:nvPr>
        </p:nvSpPr>
        <p:spPr>
          <a:xfrm>
            <a:off x="339000" y="0"/>
            <a:ext cx="7632000" cy="9360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Font typeface="Open Sans"/>
              <a:buNone/>
              <a:defRPr sz="2700" i="0" u="none" strike="noStrike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324767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9B7DED6-B882-4E71-B743-195F26ABF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F83D2F54-76E7-4DEE-B0B5-423693F0FE7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7" indent="0">
              <a:buNone/>
              <a:defRPr sz="2100"/>
            </a:lvl2pPr>
            <a:lvl3pPr marL="685814" indent="0">
              <a:buNone/>
              <a:defRPr sz="1800"/>
            </a:lvl3pPr>
            <a:lvl4pPr marL="1028721" indent="0">
              <a:buNone/>
              <a:defRPr sz="1500"/>
            </a:lvl4pPr>
            <a:lvl5pPr marL="1371627" indent="0">
              <a:buNone/>
              <a:defRPr sz="1500"/>
            </a:lvl5pPr>
            <a:lvl6pPr marL="1714534" indent="0">
              <a:buNone/>
              <a:defRPr sz="1500"/>
            </a:lvl6pPr>
            <a:lvl7pPr marL="2057441" indent="0">
              <a:buNone/>
              <a:defRPr sz="1500"/>
            </a:lvl7pPr>
            <a:lvl8pPr marL="2400348" indent="0">
              <a:buNone/>
              <a:defRPr sz="1500"/>
            </a:lvl8pPr>
            <a:lvl9pPr marL="2743255" indent="0">
              <a:buNone/>
              <a:defRPr sz="15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10C3FCC4-C9B1-4DBB-B2A7-7EBAA81F31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7" indent="0">
              <a:buNone/>
              <a:defRPr sz="1050"/>
            </a:lvl2pPr>
            <a:lvl3pPr marL="685814" indent="0">
              <a:buNone/>
              <a:defRPr sz="900"/>
            </a:lvl3pPr>
            <a:lvl4pPr marL="1028721" indent="0">
              <a:buNone/>
              <a:defRPr sz="750"/>
            </a:lvl4pPr>
            <a:lvl5pPr marL="1371627" indent="0">
              <a:buNone/>
              <a:defRPr sz="750"/>
            </a:lvl5pPr>
            <a:lvl6pPr marL="1714534" indent="0">
              <a:buNone/>
              <a:defRPr sz="750"/>
            </a:lvl6pPr>
            <a:lvl7pPr marL="2057441" indent="0">
              <a:buNone/>
              <a:defRPr sz="750"/>
            </a:lvl7pPr>
            <a:lvl8pPr marL="2400348" indent="0">
              <a:buNone/>
              <a:defRPr sz="750"/>
            </a:lvl8pPr>
            <a:lvl9pPr marL="2743255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0A47D0A8-9F5B-437B-ADCB-8296D2388E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1FD567-2136-49E5-9A6F-F4CA413DD712}" type="datetimeFigureOut">
              <a:rPr lang="en-GB" smtClean="0"/>
              <a:t>15/06/2018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62F1A4C9-4512-47A8-B33D-DF56FC1FDD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B270E465-C9A7-4B91-A6EE-8CBD59834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862DE0-ED62-4CBF-B763-1A88DF9148A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72777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36123"/>
            <a:ext cx="9144000" cy="2556164"/>
          </a:xfrm>
          <a:prstGeom prst="rect">
            <a:avLst/>
          </a:prstGeom>
        </p:spPr>
      </p:pic>
      <p:pic>
        <p:nvPicPr>
          <p:cNvPr id="8" name="Picture 7"/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8211" y="253638"/>
            <a:ext cx="1198245" cy="949960"/>
          </a:xfrm>
          <a:prstGeom prst="rect">
            <a:avLst/>
          </a:prstGeom>
        </p:spPr>
      </p:pic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0000" y="684000"/>
            <a:ext cx="6660312" cy="483558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3000" b="1" spc="-40" baseline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heading in 30pt Arial Bold</a:t>
            </a:r>
            <a:endParaRPr lang="en-GB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644008" y="4500000"/>
            <a:ext cx="3924008" cy="324000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15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Presented by… in 15pt Arial Bo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74411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936000"/>
            <a:ext cx="9144000" cy="4207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0000" y="360000"/>
            <a:ext cx="7632000" cy="529568"/>
          </a:xfrm>
        </p:spPr>
        <p:txBody>
          <a:bodyPr lIns="0" tIns="0" rIns="0" bIns="0" anchor="t">
            <a:normAutofit/>
          </a:bodyPr>
          <a:lstStyle>
            <a:lvl1pPr>
              <a:defRPr sz="3000" b="1" spc="-4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Main Heading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0000" y="1080000"/>
            <a:ext cx="7704000" cy="3435966"/>
          </a:xfrm>
        </p:spPr>
        <p:txBody>
          <a:bodyPr lIns="0" tIns="0" rIns="0" bIns="0"/>
          <a:lstStyle>
            <a:lvl1pPr>
              <a:defRPr sz="2400">
                <a:solidFill>
                  <a:schemeClr val="accent6"/>
                </a:solidFill>
              </a:defRPr>
            </a:lvl1pPr>
            <a:lvl2pPr>
              <a:defRPr sz="2100">
                <a:solidFill>
                  <a:schemeClr val="accent6"/>
                </a:solidFill>
              </a:defRPr>
            </a:lvl2pPr>
            <a:lvl3pPr marL="1143000" indent="-228600">
              <a:buFont typeface="Wingdings" panose="05000000000000000000" pitchFamily="2" charset="2"/>
              <a:buChar char="§"/>
              <a:defRPr sz="1800">
                <a:solidFill>
                  <a:schemeClr val="accent6"/>
                </a:solidFill>
              </a:defRPr>
            </a:lvl3pPr>
            <a:lvl4pPr>
              <a:defRPr sz="2100"/>
            </a:lvl4pPr>
            <a:lvl5pPr>
              <a:defRPr sz="17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300192" y="4731990"/>
            <a:ext cx="2133600" cy="273844"/>
          </a:xfrm>
          <a:noFill/>
        </p:spPr>
        <p:txBody>
          <a:bodyPr/>
          <a:lstStyle>
            <a:lvl1pPr>
              <a:defRPr sz="1000">
                <a:solidFill>
                  <a:schemeClr val="accent6"/>
                </a:solidFill>
              </a:defRPr>
            </a:lvl1pPr>
          </a:lstStyle>
          <a:p>
            <a:fld id="{DC12C2CB-C475-442B-84C1-CBFDBCB34DB3}" type="slidenum">
              <a:rPr lang="en-GB" smtClean="0">
                <a:solidFill>
                  <a:srgbClr val="424D58"/>
                </a:solidFill>
              </a:rPr>
              <a:pPr/>
              <a:t>‹#›</a:t>
            </a:fld>
            <a:endParaRPr lang="en-GB" dirty="0">
              <a:solidFill>
                <a:srgbClr val="424D5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3132626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36.xml"/></Relationships>
</file>

<file path=ppt/slideMasters/_rels/slideMaster1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37.xml"/></Relationships>
</file>

<file path=ppt/slideMasters/_rels/slideMaster12.xml.rels><?xml version="1.0" encoding="UTF-8" standalone="yes"?>
<Relationships xmlns="http://schemas.openxmlformats.org/package/2006/relationships"><Relationship Id="rId2" Type="http://schemas.openxmlformats.org/officeDocument/2006/relationships/theme" Target="../theme/theme12.xml"/><Relationship Id="rId1" Type="http://schemas.openxmlformats.org/officeDocument/2006/relationships/slideLayout" Target="../slideLayouts/slideLayout38.xml"/></Relationships>
</file>

<file path=ppt/slideMasters/_rels/slideMaster13.xml.rels><?xml version="1.0" encoding="UTF-8" standalone="yes"?>
<Relationships xmlns="http://schemas.openxmlformats.org/package/2006/relationships"><Relationship Id="rId2" Type="http://schemas.openxmlformats.org/officeDocument/2006/relationships/theme" Target="../theme/theme13.xml"/><Relationship Id="rId1" Type="http://schemas.openxmlformats.org/officeDocument/2006/relationships/slideLayout" Target="../slideLayouts/slideLayout39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theme" Target="../theme/theme14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5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theme" Target="../theme/theme16.xml"/><Relationship Id="rId5" Type="http://schemas.openxmlformats.org/officeDocument/2006/relationships/slideLayout" Target="../slideLayouts/slideLayout51.xml"/><Relationship Id="rId4" Type="http://schemas.openxmlformats.org/officeDocument/2006/relationships/slideLayout" Target="../slideLayouts/slideLayout5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7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8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9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3.xml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2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30.xml"/><Relationship Id="rId15" Type="http://schemas.openxmlformats.org/officeDocument/2006/relationships/image" Target="../media/image8.png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image" Target="../media/image7.emf"/></Relationships>
</file>

<file path=ppt/slideMasters/_rels/slideMaster9.xml.rels><?xml version="1.0" encoding="UTF-8" standalone="yes"?>
<Relationships xmlns="http://schemas.openxmlformats.org/package/2006/relationships"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F9D6EA-53C1-4056-A5B8-5AF66D913895}" type="datetime1">
              <a:rPr lang="en-GB" smtClean="0"/>
              <a:t>15/06/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dirty="0"/>
              <a:t>Click to edit master footer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2E129E-16B7-480B-972E-C025DBFD1D5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4456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62" r:id="rId2"/>
    <p:sldLayoutId id="2147483687" r:id="rId3"/>
    <p:sldLayoutId id="2147483681" r:id="rId4"/>
    <p:sldLayoutId id="2147483753" r:id="rId5"/>
    <p:sldLayoutId id="2147483776" r:id="rId6"/>
    <p:sldLayoutId id="2147483778" r:id="rId7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3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F9D6EA-53C1-4056-A5B8-5AF66D913895}" type="datetime1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15/06/2018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dirty="0">
                <a:solidFill>
                  <a:srgbClr val="0F0F0F">
                    <a:tint val="75000"/>
                  </a:srgbClr>
                </a:solidFill>
              </a:rPr>
              <a:t>Click to edit master footer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2E129E-16B7-480B-972E-C025DBFD1D53}" type="slidenum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4456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3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F9D6EA-53C1-4056-A5B8-5AF66D913895}" type="datetime1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15/06/2018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dirty="0">
                <a:solidFill>
                  <a:srgbClr val="0F0F0F">
                    <a:tint val="75000"/>
                  </a:srgbClr>
                </a:solidFill>
              </a:rPr>
              <a:t>Click to edit master footer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2E129E-16B7-480B-972E-C025DBFD1D53}" type="slidenum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4456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3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F9D6EA-53C1-4056-A5B8-5AF66D913895}" type="datetime1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15/06/2018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dirty="0">
                <a:solidFill>
                  <a:srgbClr val="0F0F0F">
                    <a:tint val="75000"/>
                  </a:srgbClr>
                </a:solidFill>
              </a:rPr>
              <a:t>Click to edit master footer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2E129E-16B7-480B-972E-C025DBFD1D53}" type="slidenum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4456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3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F9D6EA-53C1-4056-A5B8-5AF66D913895}" type="datetime1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15/06/2018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dirty="0">
                <a:solidFill>
                  <a:srgbClr val="0F0F0F">
                    <a:tint val="75000"/>
                  </a:srgbClr>
                </a:solidFill>
              </a:rPr>
              <a:t>Click to edit master footer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2E129E-16B7-480B-972E-C025DBFD1D53}" type="slidenum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4456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2E129E-16B7-480B-972E-C025DBFD1D53}" type="slidenum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7165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3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2E129E-16B7-480B-972E-C025DBFD1D53}" type="slidenum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9985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3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F9D6EA-53C1-4056-A5B8-5AF66D913895}" type="datetime1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15/06/2018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dirty="0">
                <a:solidFill>
                  <a:srgbClr val="0F0F0F">
                    <a:tint val="75000"/>
                  </a:srgbClr>
                </a:solidFill>
              </a:rPr>
              <a:t>Click to edit master footer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2E129E-16B7-480B-972E-C025DBFD1D53}" type="slidenum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4463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3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F9D6EA-53C1-4056-A5B8-5AF66D913895}" type="datetime1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15/06/2018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dirty="0">
                <a:solidFill>
                  <a:srgbClr val="0F0F0F">
                    <a:tint val="75000"/>
                  </a:srgbClr>
                </a:solidFill>
              </a:rPr>
              <a:t>Click to edit master footer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2E129E-16B7-480B-972E-C025DBFD1D53}" type="slidenum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6661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789" r:id="rId7"/>
    <p:sldLayoutId id="2147483796" r:id="rId8"/>
    <p:sldLayoutId id="2147483797" r:id="rId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F9D6EA-53C1-4056-A5B8-5AF66D913895}" type="datetime1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15/06/2018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dirty="0">
                <a:solidFill>
                  <a:srgbClr val="0F0F0F">
                    <a:tint val="75000"/>
                  </a:srgbClr>
                </a:solidFill>
              </a:rPr>
              <a:t>Click to edit master footer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2E129E-16B7-480B-972E-C025DBFD1D53}" type="slidenum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317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3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F9D6EA-53C1-4056-A5B8-5AF66D913895}" type="datetime1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15/06/2018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dirty="0">
                <a:solidFill>
                  <a:srgbClr val="0F0F0F">
                    <a:tint val="75000"/>
                  </a:srgbClr>
                </a:solidFill>
              </a:rPr>
              <a:t>Click to edit master footer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2E129E-16B7-480B-972E-C025DBFD1D53}" type="slidenum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4456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3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F9D6EA-53C1-4056-A5B8-5AF66D913895}" type="datetime1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15/06/2018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dirty="0">
                <a:solidFill>
                  <a:srgbClr val="0F0F0F">
                    <a:tint val="75000"/>
                  </a:srgbClr>
                </a:solidFill>
              </a:rPr>
              <a:t>Click to edit master footer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2E129E-16B7-480B-972E-C025DBFD1D53}" type="slidenum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4456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3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2E129E-16B7-480B-972E-C025DBFD1D53}" type="slidenum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499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54" r:id="rId2"/>
    <p:sldLayoutId id="2147483798" r:id="rId3"/>
    <p:sldLayoutId id="2147483805" r:id="rId4"/>
    <p:sldLayoutId id="2147483806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3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F9D6EA-53C1-4056-A5B8-5AF66D913895}" type="datetime1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15/06/2018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dirty="0">
                <a:solidFill>
                  <a:srgbClr val="0F0F0F">
                    <a:tint val="75000"/>
                  </a:srgbClr>
                </a:solidFill>
              </a:rPr>
              <a:t>Click to edit master footer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2E129E-16B7-480B-972E-C025DBFD1D53}" type="slidenum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4456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3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479" y="119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9" y="1194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4989" y="122635"/>
            <a:ext cx="7726347" cy="62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Slide tit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4975" y="1132286"/>
            <a:ext cx="8274050" cy="34599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Body text</a:t>
            </a:r>
          </a:p>
          <a:p>
            <a:pPr lvl="1"/>
            <a:r>
              <a:rPr lang="en-GB" dirty="0"/>
              <a:t>First level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8539163" y="5006578"/>
            <a:ext cx="176212" cy="988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666750" fontAlgn="base">
              <a:spcBef>
                <a:spcPct val="0"/>
              </a:spcBef>
            </a:pPr>
            <a:fld id="{0AAE6F06-DF1F-4AFE-8A52-B806E3E9D437}" type="slidenum">
              <a:rPr lang="en-GB" sz="675">
                <a:solidFill>
                  <a:srgbClr val="0072C6"/>
                </a:solidFill>
              </a:rPr>
              <a:pPr algn="r" defTabSz="666750" fontAlgn="base">
                <a:spcBef>
                  <a:spcPct val="0"/>
                </a:spcBef>
              </a:pPr>
              <a:t>‹#›</a:t>
            </a:fld>
            <a:endParaRPr lang="en-GB" sz="675" dirty="0">
              <a:solidFill>
                <a:srgbClr val="0072C6"/>
              </a:solidFill>
            </a:endParaRPr>
          </a:p>
        </p:txBody>
      </p:sp>
      <p:pic>
        <p:nvPicPr>
          <p:cNvPr id="9" name="Picture 8" descr="logo-a5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8980" y="209931"/>
            <a:ext cx="754028" cy="381762"/>
          </a:xfrm>
          <a:prstGeom prst="rect">
            <a:avLst/>
          </a:prstGeom>
        </p:spPr>
      </p:pic>
      <p:sp>
        <p:nvSpPr>
          <p:cNvPr id="10" name="Date Placeholder 3"/>
          <p:cNvSpPr txBox="1">
            <a:spLocks/>
          </p:cNvSpPr>
          <p:nvPr/>
        </p:nvSpPr>
        <p:spPr>
          <a:xfrm>
            <a:off x="422031" y="4972898"/>
            <a:ext cx="981038" cy="1269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/>
            <a:r>
              <a:rPr lang="en-GB" sz="825" noProof="1">
                <a:solidFill>
                  <a:srgbClr val="0072C6"/>
                </a:solidFill>
              </a:rPr>
              <a:t>www.england.nhs.uk</a:t>
            </a:r>
          </a:p>
        </p:txBody>
      </p:sp>
    </p:spTree>
    <p:extLst>
      <p:ext uri="{BB962C8B-B14F-4D97-AF65-F5344CB8AC3E}">
        <p14:creationId xmlns:p14="http://schemas.microsoft.com/office/powerpoint/2010/main" val="503843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</p:sldLayoutIdLst>
  <p:txStyles>
    <p:titleStyle>
      <a:lvl1pPr algn="l" defTabSz="666750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66750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666750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666750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666750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342900" algn="l" defTabSz="666750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685800" algn="l" defTabSz="666750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028700" algn="l" defTabSz="666750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371600" algn="l" defTabSz="666750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algn="l" defTabSz="666750" rtl="0" eaLnBrk="1" fontAlgn="base" hangingPunct="1">
        <a:spcBef>
          <a:spcPct val="20000"/>
        </a:spcBef>
        <a:spcAft>
          <a:spcPct val="0"/>
        </a:spcAft>
        <a:defRPr sz="1200" b="1">
          <a:solidFill>
            <a:schemeClr val="tx1"/>
          </a:solidFill>
          <a:latin typeface="+mn-lt"/>
          <a:ea typeface="+mn-ea"/>
          <a:cs typeface="+mn-cs"/>
        </a:defRPr>
      </a:lvl1pPr>
      <a:lvl2pPr marL="333375" indent="-166688" algn="l" defTabSz="666750" rtl="0" eaLnBrk="1" fontAlgn="base" hangingPunct="1">
        <a:spcBef>
          <a:spcPct val="20000"/>
        </a:spcBef>
        <a:spcAft>
          <a:spcPct val="0"/>
        </a:spcAft>
        <a:buClrTx/>
        <a:buChar char="•"/>
        <a:defRPr sz="1200">
          <a:solidFill>
            <a:schemeClr val="tx1"/>
          </a:solidFill>
          <a:latin typeface="+mn-lt"/>
          <a:cs typeface="+mn-cs"/>
        </a:defRPr>
      </a:lvl2pPr>
      <a:lvl3pPr marL="666750" indent="-166688" algn="l" defTabSz="666750" rtl="0" eaLnBrk="1" fontAlgn="base" hangingPunct="1">
        <a:spcBef>
          <a:spcPct val="20000"/>
        </a:spcBef>
        <a:spcAft>
          <a:spcPct val="0"/>
        </a:spcAft>
        <a:buClrTx/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cs typeface="+mn-cs"/>
        </a:defRPr>
      </a:lvl3pPr>
      <a:lvl4pPr marL="1003697" indent="-170260" algn="l" defTabSz="666750" rtl="0" eaLnBrk="1" fontAlgn="base" hangingPunct="1">
        <a:spcBef>
          <a:spcPct val="20000"/>
        </a:spcBef>
        <a:spcAft>
          <a:spcPct val="0"/>
        </a:spcAft>
        <a:buClrTx/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4pPr>
      <a:lvl5pPr marL="1498997" indent="-165497" algn="l" defTabSz="666750" rtl="0" eaLnBrk="1" fontAlgn="base" hangingPunct="1">
        <a:spcBef>
          <a:spcPct val="20000"/>
        </a:spcBef>
        <a:spcAft>
          <a:spcPct val="0"/>
        </a:spcAft>
        <a:buClrTx/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5pPr>
      <a:lvl6pPr marL="1841897" indent="-165497" algn="l" defTabSz="66675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2184797" indent="-165497" algn="l" defTabSz="66675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527697" indent="-165497" algn="l" defTabSz="66675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870597" indent="-165497" algn="l" defTabSz="66675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F9D6EA-53C1-4056-A5B8-5AF66D913895}" type="datetime1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15/06/2018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dirty="0">
                <a:solidFill>
                  <a:srgbClr val="0F0F0F">
                    <a:tint val="75000"/>
                  </a:srgbClr>
                </a:solidFill>
              </a:rPr>
              <a:t>Click to edit master footer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2E129E-16B7-480B-972E-C025DBFD1D53}" type="slidenum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4456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3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1.xml"/><Relationship Id="rId4" Type="http://schemas.openxmlformats.org/officeDocument/2006/relationships/image" Target="../media/image3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tif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png"/><Relationship Id="rId7" Type="http://schemas.openxmlformats.org/officeDocument/2006/relationships/image" Target="../media/image41.tif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40.tiff"/><Relationship Id="rId11" Type="http://schemas.openxmlformats.org/officeDocument/2006/relationships/image" Target="../media/image45.tiff"/><Relationship Id="rId5" Type="http://schemas.openxmlformats.org/officeDocument/2006/relationships/image" Target="../media/image39.tiff"/><Relationship Id="rId10" Type="http://schemas.openxmlformats.org/officeDocument/2006/relationships/image" Target="../media/image44.tiff"/><Relationship Id="rId4" Type="http://schemas.openxmlformats.org/officeDocument/2006/relationships/image" Target="../media/image38.tiff"/><Relationship Id="rId9" Type="http://schemas.openxmlformats.org/officeDocument/2006/relationships/image" Target="../media/image43.tiff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wmv"/><Relationship Id="rId1" Type="http://schemas.microsoft.com/office/2007/relationships/media" Target="../media/media1.wmv"/><Relationship Id="rId5" Type="http://schemas.openxmlformats.org/officeDocument/2006/relationships/image" Target="../media/image48.png"/><Relationship Id="rId4" Type="http://schemas.openxmlformats.org/officeDocument/2006/relationships/notesSlide" Target="../notesSlides/notesSlide30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4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1.jpeg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4.png"/><Relationship Id="rId11" Type="http://schemas.openxmlformats.org/officeDocument/2006/relationships/image" Target="../media/image59.png"/><Relationship Id="rId5" Type="http://schemas.openxmlformats.org/officeDocument/2006/relationships/image" Target="../media/image53.png"/><Relationship Id="rId10" Type="http://schemas.openxmlformats.org/officeDocument/2006/relationships/image" Target="../media/image58.jpeg"/><Relationship Id="rId4" Type="http://schemas.openxmlformats.org/officeDocument/2006/relationships/image" Target="../media/image52.png"/><Relationship Id="rId9" Type="http://schemas.openxmlformats.org/officeDocument/2006/relationships/image" Target="../media/image57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0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3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="" xmlns:a16="http://schemas.microsoft.com/office/drawing/2014/main" id="{01967870-016E-47D7-83F8-D1D4879E2B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257" y="462575"/>
            <a:ext cx="6241983" cy="4154700"/>
          </a:xfrm>
        </p:spPr>
        <p:txBody>
          <a:bodyPr>
            <a:normAutofit/>
          </a:bodyPr>
          <a:lstStyle/>
          <a:p>
            <a:r>
              <a:rPr lang="en-GB" sz="2800" dirty="0"/>
              <a:t>Building a digital NHS: </a:t>
            </a:r>
            <a:br>
              <a:rPr lang="en-GB" sz="2800" dirty="0"/>
            </a:br>
            <a:r>
              <a:rPr lang="en-GB" sz="2800" dirty="0"/>
              <a:t>Which empowers people to manage their health and care</a:t>
            </a:r>
            <a:br>
              <a:rPr lang="en-GB" sz="2800" dirty="0"/>
            </a:br>
            <a:r>
              <a:rPr lang="en-GB" sz="2800" dirty="0" smtClean="0"/>
              <a:t/>
            </a:r>
            <a:br>
              <a:rPr lang="en-GB" sz="2800" dirty="0" smtClean="0"/>
            </a:br>
            <a:r>
              <a:rPr lang="en-GB" sz="2000" dirty="0" smtClean="0"/>
              <a:t>Welcome </a:t>
            </a:r>
            <a:r>
              <a:rPr lang="en-GB" sz="2000" dirty="0"/>
              <a:t>and </a:t>
            </a:r>
            <a:r>
              <a:rPr lang="en-GB" sz="2000" dirty="0" smtClean="0"/>
              <a:t>introduction</a:t>
            </a:r>
            <a:br>
              <a:rPr lang="en-GB" sz="2000" dirty="0" smtClean="0"/>
            </a:br>
            <a:r>
              <a:rPr lang="en-GB" sz="2000" dirty="0" smtClean="0"/>
              <a:t>Jon </a:t>
            </a:r>
            <a:r>
              <a:rPr lang="en-GB" sz="2000" dirty="0"/>
              <a:t>Hoeksma, </a:t>
            </a:r>
            <a:r>
              <a:rPr lang="en-GB" sz="2000" dirty="0" smtClean="0"/>
              <a:t>CEO </a:t>
            </a:r>
            <a:br>
              <a:rPr lang="en-GB" sz="2000" dirty="0" smtClean="0"/>
            </a:br>
            <a:r>
              <a:rPr lang="en-GB" sz="2000" dirty="0" smtClean="0"/>
              <a:t>Digital </a:t>
            </a:r>
            <a:r>
              <a:rPr lang="en-GB" sz="2000" dirty="0"/>
              <a:t>Health Network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B5A3B58-7EBF-4FED-AB1B-6826D3BD8F20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280AA684-6FB9-400F-B313-F111F0F48737}" type="slidenum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1</a:t>
            </a:fld>
            <a:endParaRPr lang="en-GB" dirty="0">
              <a:solidFill>
                <a:srgbClr val="0F0F0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127169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="" xmlns:a16="http://schemas.microsoft.com/office/drawing/2014/main" id="{01967870-016E-47D7-83F8-D1D4879E2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GB" sz="2800" dirty="0"/>
              <a:t>We are getting the foundations righ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B5A3B58-7EBF-4FED-AB1B-6826D3BD8F20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280AA684-6FB9-400F-B313-F111F0F48737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101746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20BDCE1F-CDE4-4362-B9B3-4D1F0EE957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/>
              <a:t>The NHS websit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37BDAA10-A467-4DF1-9DF2-E511A3C44F0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96464" y="4464000"/>
            <a:ext cx="3924008" cy="540000"/>
          </a:xfrm>
        </p:spPr>
        <p:txBody>
          <a:bodyPr/>
          <a:lstStyle/>
          <a:p>
            <a:r>
              <a:rPr lang="en-GB" dirty="0"/>
              <a:t>Presented by Marc </a:t>
            </a:r>
            <a:r>
              <a:rPr lang="en-GB" dirty="0" err="1"/>
              <a:t>Heasman</a:t>
            </a:r>
            <a:endParaRPr lang="en-GB" dirty="0"/>
          </a:p>
          <a:p>
            <a:r>
              <a:rPr lang="en-GB" b="0" dirty="0"/>
              <a:t>NHS.UK Head of Product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5164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109654CC-F15B-4BC0-97D0-8DB9BB54AE70}"/>
              </a:ext>
            </a:extLst>
          </p:cNvPr>
          <p:cNvSpPr/>
          <p:nvPr/>
        </p:nvSpPr>
        <p:spPr>
          <a:xfrm>
            <a:off x="3402326" y="0"/>
            <a:ext cx="5818424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Shape 306">
            <a:extLst>
              <a:ext uri="{FF2B5EF4-FFF2-40B4-BE49-F238E27FC236}">
                <a16:creationId xmlns:a16="http://schemas.microsoft.com/office/drawing/2014/main" xmlns="" id="{21387CF6-02DF-4E51-8874-BDEF58401A98}"/>
              </a:ext>
            </a:extLst>
          </p:cNvPr>
          <p:cNvSpPr/>
          <p:nvPr/>
        </p:nvSpPr>
        <p:spPr>
          <a:xfrm>
            <a:off x="360000" y="360000"/>
            <a:ext cx="2980672" cy="8771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68562" tIns="68562" rIns="68562" bIns="68562">
            <a:spAutoFit/>
          </a:bodyPr>
          <a:lstStyle/>
          <a:p>
            <a:pPr>
              <a:defRPr sz="1600" b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lang="en-GB" sz="2400" dirty="0">
                <a:latin typeface="+mj-lt"/>
              </a:rPr>
              <a:t>Transforming</a:t>
            </a:r>
          </a:p>
          <a:p>
            <a:pPr>
              <a:defRPr sz="1600" b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lang="en-GB" sz="2400" dirty="0">
                <a:latin typeface="+mj-lt"/>
              </a:rPr>
              <a:t>NHS Choices</a:t>
            </a:r>
            <a:endParaRPr sz="1600" dirty="0"/>
          </a:p>
        </p:txBody>
      </p:sp>
      <p:sp>
        <p:nvSpPr>
          <p:cNvPr id="10" name="Shape 306">
            <a:extLst>
              <a:ext uri="{FF2B5EF4-FFF2-40B4-BE49-F238E27FC236}">
                <a16:creationId xmlns:a16="http://schemas.microsoft.com/office/drawing/2014/main" xmlns="" id="{2D07D79B-2106-4BE6-9233-0A38C31568F0}"/>
              </a:ext>
            </a:extLst>
          </p:cNvPr>
          <p:cNvSpPr/>
          <p:nvPr/>
        </p:nvSpPr>
        <p:spPr>
          <a:xfrm>
            <a:off x="360000" y="1419622"/>
            <a:ext cx="2759038" cy="31854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68562" tIns="68562" rIns="68562" bIns="68562">
            <a:spAutoFit/>
          </a:bodyPr>
          <a:lstStyle/>
          <a:p>
            <a:endParaRPr lang="en-GB" dirty="0">
              <a:solidFill>
                <a:schemeClr val="bg1"/>
              </a:solidFill>
            </a:endParaRPr>
          </a:p>
          <a:p>
            <a:r>
              <a:rPr lang="en-GB" dirty="0">
                <a:solidFill>
                  <a:schemeClr val="bg1"/>
                </a:solidFill>
              </a:rPr>
              <a:t>Transform from a library of content to an empowering multi-channel, digital platform </a:t>
            </a:r>
          </a:p>
          <a:p>
            <a:endParaRPr lang="en-GB" dirty="0">
              <a:solidFill>
                <a:schemeClr val="bg1"/>
              </a:solidFill>
            </a:endParaRPr>
          </a:p>
          <a:p>
            <a:endParaRPr lang="en-GB" dirty="0">
              <a:solidFill>
                <a:schemeClr val="bg1"/>
              </a:solidFill>
            </a:endParaRPr>
          </a:p>
          <a:p>
            <a:r>
              <a:rPr lang="en-GB" dirty="0">
                <a:solidFill>
                  <a:schemeClr val="bg1"/>
                </a:solidFill>
              </a:rPr>
              <a:t>Support channel shift to digital that delivers clear benefits to patients and frontline servic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CAFE7311-1B0C-BC4F-8419-CE0F4ED7EAD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7077" y="456456"/>
            <a:ext cx="5728921" cy="4230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574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109654CC-F15B-4BC0-97D0-8DB9BB54AE70}"/>
              </a:ext>
            </a:extLst>
          </p:cNvPr>
          <p:cNvSpPr/>
          <p:nvPr/>
        </p:nvSpPr>
        <p:spPr>
          <a:xfrm>
            <a:off x="3419872" y="0"/>
            <a:ext cx="5818424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Shape 306">
            <a:extLst>
              <a:ext uri="{FF2B5EF4-FFF2-40B4-BE49-F238E27FC236}">
                <a16:creationId xmlns:a16="http://schemas.microsoft.com/office/drawing/2014/main" xmlns="" id="{21387CF6-02DF-4E51-8874-BDEF58401A98}"/>
              </a:ext>
            </a:extLst>
          </p:cNvPr>
          <p:cNvSpPr/>
          <p:nvPr/>
        </p:nvSpPr>
        <p:spPr>
          <a:xfrm>
            <a:off x="360000" y="360000"/>
            <a:ext cx="2980672" cy="5077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68562" tIns="68562" rIns="68562" bIns="68562">
            <a:spAutoFit/>
          </a:bodyPr>
          <a:lstStyle/>
          <a:p>
            <a:pPr>
              <a:defRPr sz="1600" b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lang="en-GB" sz="2400" dirty="0">
                <a:latin typeface="+mj-lt"/>
              </a:rPr>
              <a:t>The NHS website</a:t>
            </a:r>
            <a:endParaRPr sz="1600" dirty="0"/>
          </a:p>
        </p:txBody>
      </p:sp>
      <p:sp>
        <p:nvSpPr>
          <p:cNvPr id="10" name="Shape 306">
            <a:extLst>
              <a:ext uri="{FF2B5EF4-FFF2-40B4-BE49-F238E27FC236}">
                <a16:creationId xmlns:a16="http://schemas.microsoft.com/office/drawing/2014/main" xmlns="" id="{2D07D79B-2106-4BE6-9233-0A38C31568F0}"/>
              </a:ext>
            </a:extLst>
          </p:cNvPr>
          <p:cNvSpPr/>
          <p:nvPr/>
        </p:nvSpPr>
        <p:spPr>
          <a:xfrm>
            <a:off x="360000" y="987574"/>
            <a:ext cx="2759038" cy="41611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68562" tIns="68562" rIns="68562" bIns="68562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In September NHS Choices will become the NHS website offering better health and service information</a:t>
            </a:r>
          </a:p>
          <a:p>
            <a:pPr>
              <a:defRPr sz="1100">
                <a:solidFill>
                  <a:srgbClr val="FFFFFF"/>
                </a:solidFill>
              </a:defRPr>
            </a:pPr>
            <a:endParaRPr lang="en-GB" dirty="0">
              <a:solidFill>
                <a:schemeClr val="bg1"/>
              </a:solidFill>
            </a:endParaRPr>
          </a:p>
          <a:p>
            <a:endParaRPr lang="en-GB" b="1" dirty="0">
              <a:solidFill>
                <a:srgbClr val="FFFF00"/>
              </a:solidFill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Mobile first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More accessible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Better content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Easier to navigate</a:t>
            </a:r>
          </a:p>
          <a:p>
            <a:endParaRPr lang="en-GB" b="1" dirty="0">
              <a:solidFill>
                <a:srgbClr val="FFFF00"/>
              </a:solidFill>
            </a:endParaRPr>
          </a:p>
          <a:p>
            <a:pPr>
              <a:defRPr sz="1100">
                <a:solidFill>
                  <a:srgbClr val="FFFFFF"/>
                </a:solidFill>
              </a:defRPr>
            </a:pPr>
            <a:endParaRPr lang="en-GB" sz="1600" b="1" dirty="0">
              <a:solidFill>
                <a:srgbClr val="FFFF00"/>
              </a:solidFill>
            </a:endParaRPr>
          </a:p>
          <a:p>
            <a:pPr>
              <a:defRPr sz="1100">
                <a:solidFill>
                  <a:srgbClr val="FFFFFF"/>
                </a:solidFill>
              </a:defRPr>
            </a:pPr>
            <a:endParaRPr lang="en-GB" dirty="0"/>
          </a:p>
          <a:p>
            <a:pPr>
              <a:defRPr sz="1100">
                <a:solidFill>
                  <a:srgbClr val="FFFFFF"/>
                </a:solidFill>
              </a:defRPr>
            </a:pP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AA8C6533-CD09-6243-8F40-7AE4C18D421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66" r="12247"/>
          <a:stretch/>
        </p:blipFill>
        <p:spPr>
          <a:xfrm>
            <a:off x="3559554" y="123478"/>
            <a:ext cx="5539062" cy="4896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9707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5311EEA-9F9A-514D-9626-57367F15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725" y="360363"/>
            <a:ext cx="7631113" cy="528637"/>
          </a:xfrm>
        </p:spPr>
        <p:txBody>
          <a:bodyPr rtlCol="0">
            <a:normAutofit/>
          </a:bodyPr>
          <a:lstStyle/>
          <a:p>
            <a:pPr defTabSz="914378" eaLnBrk="1" fontAlgn="auto" hangingPunct="1">
              <a:spcAft>
                <a:spcPts val="0"/>
              </a:spcAft>
              <a:defRPr/>
            </a:pPr>
            <a:r>
              <a:rPr lang="en-GB" dirty="0"/>
              <a:t>Creating Better Experiences: Service Pattern</a:t>
            </a:r>
          </a:p>
        </p:txBody>
      </p:sp>
      <p:sp>
        <p:nvSpPr>
          <p:cNvPr id="5" name="Chevron 4">
            <a:extLst>
              <a:ext uri="{FF2B5EF4-FFF2-40B4-BE49-F238E27FC236}">
                <a16:creationId xmlns:a16="http://schemas.microsoft.com/office/drawing/2014/main" xmlns="" id="{EEEDA506-9514-7742-A8DA-DE32BF301119}"/>
              </a:ext>
            </a:extLst>
          </p:cNvPr>
          <p:cNvSpPr/>
          <p:nvPr/>
        </p:nvSpPr>
        <p:spPr>
          <a:xfrm>
            <a:off x="71438" y="2500313"/>
            <a:ext cx="2160587" cy="1366837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500" dirty="0">
                <a:solidFill>
                  <a:schemeClr val="bg1"/>
                </a:solidFill>
              </a:rPr>
              <a:t>Search</a:t>
            </a:r>
          </a:p>
        </p:txBody>
      </p:sp>
      <p:sp>
        <p:nvSpPr>
          <p:cNvPr id="6" name="Chevron 5">
            <a:extLst>
              <a:ext uri="{FF2B5EF4-FFF2-40B4-BE49-F238E27FC236}">
                <a16:creationId xmlns:a16="http://schemas.microsoft.com/office/drawing/2014/main" xmlns="" id="{D0650AB4-811C-4442-864E-38D827950CDC}"/>
              </a:ext>
            </a:extLst>
          </p:cNvPr>
          <p:cNvSpPr/>
          <p:nvPr/>
        </p:nvSpPr>
        <p:spPr>
          <a:xfrm>
            <a:off x="1728788" y="2500313"/>
            <a:ext cx="2447925" cy="1366837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500" dirty="0">
                <a:solidFill>
                  <a:schemeClr val="bg1"/>
                </a:solidFill>
              </a:rPr>
              <a:t>Content</a:t>
            </a:r>
          </a:p>
        </p:txBody>
      </p:sp>
      <p:sp>
        <p:nvSpPr>
          <p:cNvPr id="7" name="Chevron 6">
            <a:extLst>
              <a:ext uri="{FF2B5EF4-FFF2-40B4-BE49-F238E27FC236}">
                <a16:creationId xmlns:a16="http://schemas.microsoft.com/office/drawing/2014/main" xmlns="" id="{419A2BE3-E3A8-6142-90D8-6035E0D9A73A}"/>
              </a:ext>
            </a:extLst>
          </p:cNvPr>
          <p:cNvSpPr/>
          <p:nvPr/>
        </p:nvSpPr>
        <p:spPr>
          <a:xfrm>
            <a:off x="3671888" y="2500313"/>
            <a:ext cx="2449512" cy="1366837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500" dirty="0">
                <a:solidFill>
                  <a:schemeClr val="bg1"/>
                </a:solidFill>
              </a:rPr>
              <a:t>Service</a:t>
            </a:r>
          </a:p>
        </p:txBody>
      </p:sp>
      <p:sp>
        <p:nvSpPr>
          <p:cNvPr id="8" name="Chevron 7">
            <a:extLst>
              <a:ext uri="{FF2B5EF4-FFF2-40B4-BE49-F238E27FC236}">
                <a16:creationId xmlns:a16="http://schemas.microsoft.com/office/drawing/2014/main" xmlns="" id="{D176776B-B84A-A342-9685-2FF6B61DB315}"/>
              </a:ext>
            </a:extLst>
          </p:cNvPr>
          <p:cNvSpPr/>
          <p:nvPr/>
        </p:nvSpPr>
        <p:spPr>
          <a:xfrm>
            <a:off x="6480175" y="2500313"/>
            <a:ext cx="2555875" cy="1366837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500" dirty="0">
                <a:solidFill>
                  <a:schemeClr val="bg1"/>
                </a:solidFill>
              </a:rPr>
              <a:t>Transaction</a:t>
            </a:r>
          </a:p>
        </p:txBody>
      </p:sp>
      <p:sp>
        <p:nvSpPr>
          <p:cNvPr id="9" name="Right Arrow 8">
            <a:extLst>
              <a:ext uri="{FF2B5EF4-FFF2-40B4-BE49-F238E27FC236}">
                <a16:creationId xmlns:a16="http://schemas.microsoft.com/office/drawing/2014/main" xmlns="" id="{32CF5683-8031-BC4A-BF82-A46A4BA173EF}"/>
              </a:ext>
            </a:extLst>
          </p:cNvPr>
          <p:cNvSpPr/>
          <p:nvPr/>
        </p:nvSpPr>
        <p:spPr>
          <a:xfrm>
            <a:off x="215900" y="1779588"/>
            <a:ext cx="5905500" cy="431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Right Arrow 9">
            <a:extLst>
              <a:ext uri="{FF2B5EF4-FFF2-40B4-BE49-F238E27FC236}">
                <a16:creationId xmlns:a16="http://schemas.microsoft.com/office/drawing/2014/main" xmlns="" id="{03D34DC2-9E0B-5744-BBFC-97D6D5AA369C}"/>
              </a:ext>
            </a:extLst>
          </p:cNvPr>
          <p:cNvSpPr/>
          <p:nvPr/>
        </p:nvSpPr>
        <p:spPr>
          <a:xfrm>
            <a:off x="6480175" y="1779588"/>
            <a:ext cx="2449513" cy="431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CB50ABA8-2282-A140-A535-F82C5E37BB82}"/>
              </a:ext>
            </a:extLst>
          </p:cNvPr>
          <p:cNvCxnSpPr/>
          <p:nvPr/>
        </p:nvCxnSpPr>
        <p:spPr>
          <a:xfrm>
            <a:off x="6264275" y="1203325"/>
            <a:ext cx="0" cy="33845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665" name="TextBox 14">
            <a:extLst>
              <a:ext uri="{FF2B5EF4-FFF2-40B4-BE49-F238E27FC236}">
                <a16:creationId xmlns:a16="http://schemas.microsoft.com/office/drawing/2014/main" xmlns="" id="{5B2C0ADC-000C-4508-BFB6-F34EEC7C0D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68425" y="987425"/>
            <a:ext cx="2808288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2100" dirty="0"/>
              <a:t>NHS Website</a:t>
            </a:r>
          </a:p>
          <a:p>
            <a:pPr algn="ctr" eaLnBrk="1" hangingPunct="1"/>
            <a:r>
              <a:rPr lang="en-US" altLang="en-US" sz="2100" dirty="0">
                <a:solidFill>
                  <a:schemeClr val="accent5">
                    <a:lumMod val="75000"/>
                  </a:schemeClr>
                </a:solidFill>
              </a:rPr>
              <a:t>(</a:t>
            </a:r>
            <a:r>
              <a:rPr lang="en-US" altLang="en-US" sz="2100" dirty="0" err="1">
                <a:solidFill>
                  <a:schemeClr val="accent5">
                    <a:lumMod val="75000"/>
                  </a:schemeClr>
                </a:solidFill>
              </a:rPr>
              <a:t>Contextualisation</a:t>
            </a:r>
            <a:r>
              <a:rPr lang="en-US" altLang="en-US" sz="2100" dirty="0">
                <a:solidFill>
                  <a:schemeClr val="accent5">
                    <a:lumMod val="75000"/>
                  </a:schemeClr>
                </a:solidFill>
              </a:rPr>
              <a:t>)</a:t>
            </a:r>
          </a:p>
        </p:txBody>
      </p:sp>
      <p:sp>
        <p:nvSpPr>
          <p:cNvPr id="70666" name="TextBox 17">
            <a:extLst>
              <a:ext uri="{FF2B5EF4-FFF2-40B4-BE49-F238E27FC236}">
                <a16:creationId xmlns:a16="http://schemas.microsoft.com/office/drawing/2014/main" xmlns="" id="{E2018E30-1094-4EC5-A465-7AD0DB4C51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5900" y="3867150"/>
            <a:ext cx="1296988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dirty="0"/>
              <a:t>User</a:t>
            </a:r>
          </a:p>
          <a:p>
            <a:pPr eaLnBrk="1" hangingPunct="1"/>
            <a:r>
              <a:rPr lang="en-US" altLang="en-US" dirty="0"/>
              <a:t>journey</a:t>
            </a:r>
          </a:p>
          <a:p>
            <a:pPr eaLnBrk="1" hangingPunct="1"/>
            <a:r>
              <a:rPr lang="en-US" altLang="en-US" dirty="0"/>
              <a:t>begins</a:t>
            </a:r>
          </a:p>
        </p:txBody>
      </p:sp>
      <p:sp>
        <p:nvSpPr>
          <p:cNvPr id="70667" name="TextBox 18">
            <a:extLst>
              <a:ext uri="{FF2B5EF4-FFF2-40B4-BE49-F238E27FC236}">
                <a16:creationId xmlns:a16="http://schemas.microsoft.com/office/drawing/2014/main" xmlns="" id="{B48B366C-F238-451C-984A-780BAF5456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28788" y="3897313"/>
            <a:ext cx="15843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dirty="0"/>
              <a:t>Information</a:t>
            </a:r>
          </a:p>
        </p:txBody>
      </p:sp>
      <p:sp>
        <p:nvSpPr>
          <p:cNvPr id="70668" name="TextBox 19">
            <a:extLst>
              <a:ext uri="{FF2B5EF4-FFF2-40B4-BE49-F238E27FC236}">
                <a16:creationId xmlns:a16="http://schemas.microsoft.com/office/drawing/2014/main" xmlns="" id="{1B9630E7-6AAC-42B4-9CF2-4DF85B88C54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44913" y="3897313"/>
            <a:ext cx="1800225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dirty="0"/>
              <a:t>Apps, Finders, Campaigns, </a:t>
            </a:r>
          </a:p>
          <a:p>
            <a:pPr eaLnBrk="1" hangingPunct="1"/>
            <a:r>
              <a:rPr lang="en-US" altLang="en-US" dirty="0"/>
              <a:t>Tools, Link to partners</a:t>
            </a:r>
          </a:p>
        </p:txBody>
      </p:sp>
      <p:sp>
        <p:nvSpPr>
          <p:cNvPr id="70669" name="TextBox 20">
            <a:extLst>
              <a:ext uri="{FF2B5EF4-FFF2-40B4-BE49-F238E27FC236}">
                <a16:creationId xmlns:a16="http://schemas.microsoft.com/office/drawing/2014/main" xmlns="" id="{3318886B-DCAE-4E15-8B75-AC65B3F5336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16688" y="3897313"/>
            <a:ext cx="2087562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/>
              <a:t>Central or market services</a:t>
            </a:r>
          </a:p>
          <a:p>
            <a:pPr eaLnBrk="1" hangingPunct="1"/>
            <a:r>
              <a:rPr lang="en-US" altLang="en-US"/>
              <a:t>CID &amp; data access dependencies</a:t>
            </a:r>
          </a:p>
        </p:txBody>
      </p:sp>
      <p:sp>
        <p:nvSpPr>
          <p:cNvPr id="70670" name="TextBox 21">
            <a:extLst>
              <a:ext uri="{FF2B5EF4-FFF2-40B4-BE49-F238E27FC236}">
                <a16:creationId xmlns:a16="http://schemas.microsoft.com/office/drawing/2014/main" xmlns="" id="{734A9068-4A41-4DE8-B677-D00D6B430D5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16688" y="987425"/>
            <a:ext cx="2376487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2100" dirty="0"/>
              <a:t>NHS App</a:t>
            </a:r>
          </a:p>
          <a:p>
            <a:pPr algn="ctr" eaLnBrk="1" hangingPunct="1"/>
            <a:r>
              <a:rPr lang="en-US" altLang="en-US" sz="2100" dirty="0">
                <a:solidFill>
                  <a:schemeClr val="accent5">
                    <a:lumMod val="75000"/>
                  </a:schemeClr>
                </a:solidFill>
              </a:rPr>
              <a:t>(Personalisation)</a:t>
            </a:r>
          </a:p>
        </p:txBody>
      </p:sp>
      <p:sp>
        <p:nvSpPr>
          <p:cNvPr id="70671" name="TextBox 15">
            <a:extLst>
              <a:ext uri="{FF2B5EF4-FFF2-40B4-BE49-F238E27FC236}">
                <a16:creationId xmlns:a16="http://schemas.microsoft.com/office/drawing/2014/main" xmlns="" id="{61D7DC00-9975-494D-97B8-4EF2248BB0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82038" y="4764088"/>
            <a:ext cx="4572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fld id="{CF1E5248-69D3-4274-96C1-ADBCE83B5E77}" type="slidenum">
              <a:rPr lang="en-GB" altLang="en-US"/>
              <a:pPr algn="ctr" eaLnBrk="1" hangingPunct="1"/>
              <a:t>14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703069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Shape 87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vert="horz" wrap="square" lIns="74055" tIns="37017" rIns="74055" bIns="37017" rtlCol="0" anchor="ctr" anchorCtr="0">
            <a:noAutofit/>
          </a:bodyPr>
          <a:lstStyle/>
          <a:p>
            <a:fld id="{00000000-1234-1234-1234-123412341234}" type="slidenum">
              <a:rPr lang="en-US"/>
              <a:pPr/>
              <a:t>15</a:t>
            </a:fld>
            <a:endParaRPr dirty="0"/>
          </a:p>
        </p:txBody>
      </p:sp>
      <p:sp>
        <p:nvSpPr>
          <p:cNvPr id="85" name="Shape 85"/>
          <p:cNvSpPr txBox="1">
            <a:spLocks noGrp="1"/>
          </p:cNvSpPr>
          <p:nvPr>
            <p:ph type="title"/>
          </p:nvPr>
        </p:nvSpPr>
        <p:spPr>
          <a:xfrm>
            <a:off x="583669" y="58534"/>
            <a:ext cx="7010023" cy="842400"/>
          </a:xfrm>
          <a:prstGeom prst="rect">
            <a:avLst/>
          </a:prstGeom>
        </p:spPr>
        <p:txBody>
          <a:bodyPr spcFirstLastPara="1" vert="horz" wrap="square" lIns="74055" tIns="74055" rIns="74055" bIns="74055" rtlCol="0" anchor="ctr" anchorCtr="0">
            <a:noAutofit/>
          </a:bodyPr>
          <a:lstStyle/>
          <a:p>
            <a:r>
              <a:rPr lang="en-GB" dirty="0">
                <a:latin typeface="Arial"/>
                <a:ea typeface="Arial"/>
                <a:cs typeface="Arial"/>
                <a:sym typeface="Arial"/>
              </a:rPr>
              <a:t>Integrating services into the NHS App</a:t>
            </a:r>
            <a:endParaRPr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CCD66ACA-8F44-DC4D-9FF5-F306D1B20ECD}"/>
              </a:ext>
            </a:extLst>
          </p:cNvPr>
          <p:cNvSpPr/>
          <p:nvPr/>
        </p:nvSpPr>
        <p:spPr>
          <a:xfrm>
            <a:off x="6459423" y="436290"/>
            <a:ext cx="406044" cy="127034"/>
          </a:xfrm>
          <a:prstGeom prst="rect">
            <a:avLst/>
          </a:prstGeom>
          <a:solidFill>
            <a:schemeClr val="bg1"/>
          </a:solidFill>
          <a:ln w="1905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540" b="1" dirty="0">
                <a:solidFill>
                  <a:srgbClr val="FF0000"/>
                </a:solidFill>
              </a:rPr>
              <a:t>DRAFT</a:t>
            </a:r>
            <a:endParaRPr lang="en-US" sz="540" b="1" dirty="0">
              <a:solidFill>
                <a:srgbClr val="FF0000"/>
              </a:solidFill>
            </a:endParaRPr>
          </a:p>
        </p:txBody>
      </p:sp>
      <p:sp>
        <p:nvSpPr>
          <p:cNvPr id="35" name="Shape 88">
            <a:extLst>
              <a:ext uri="{FF2B5EF4-FFF2-40B4-BE49-F238E27FC236}">
                <a16:creationId xmlns:a16="http://schemas.microsoft.com/office/drawing/2014/main" xmlns="" id="{7F3E0700-CE04-4842-BCAB-BE9808EFF4B6}"/>
              </a:ext>
            </a:extLst>
          </p:cNvPr>
          <p:cNvSpPr/>
          <p:nvPr/>
        </p:nvSpPr>
        <p:spPr>
          <a:xfrm>
            <a:off x="0" y="0"/>
            <a:ext cx="9144000" cy="9941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82283" tIns="82283" rIns="82283" bIns="82283" anchor="ctr" anchorCtr="0">
            <a:noAutofit/>
          </a:bodyPr>
          <a:lstStyle/>
          <a:p>
            <a:pPr defTabSz="822960">
              <a:buClr>
                <a:srgbClr val="000000"/>
              </a:buClr>
            </a:pPr>
            <a:endParaRPr sz="126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6" name="Title 2">
            <a:extLst>
              <a:ext uri="{FF2B5EF4-FFF2-40B4-BE49-F238E27FC236}">
                <a16:creationId xmlns:a16="http://schemas.microsoft.com/office/drawing/2014/main" xmlns="" id="{E20E95F6-9754-5C4C-A960-FEB9BB0E9F38}"/>
              </a:ext>
            </a:extLst>
          </p:cNvPr>
          <p:cNvSpPr txBox="1">
            <a:spLocks/>
          </p:cNvSpPr>
          <p:nvPr/>
        </p:nvSpPr>
        <p:spPr>
          <a:xfrm>
            <a:off x="414720" y="17836"/>
            <a:ext cx="7632000" cy="93609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rmAutofit/>
          </a:bodyPr>
          <a:lstStyle>
            <a:lvl1pPr marR="0" lvl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Font typeface="Open Sans"/>
              <a:buNone/>
              <a:defRPr sz="2700" b="1" i="0" u="none" strike="noStrike" kern="1200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9pPr>
          </a:lstStyle>
          <a:p>
            <a:r>
              <a:rPr lang="en-US" dirty="0">
                <a:solidFill>
                  <a:schemeClr val="bg1"/>
                </a:solidFill>
                <a:latin typeface="+mj-lt"/>
              </a:rPr>
              <a:t>Priority content areas – delivering impact</a:t>
            </a:r>
          </a:p>
        </p:txBody>
      </p:sp>
      <p:pic>
        <p:nvPicPr>
          <p:cNvPr id="43" name="Picture 2" descr="C:\Users\DShaplan\AppData\Local\Temp\Rar$DIa0.409\NHS 10mm - RGB Blue on white.jpg">
            <a:extLst>
              <a:ext uri="{FF2B5EF4-FFF2-40B4-BE49-F238E27FC236}">
                <a16:creationId xmlns:a16="http://schemas.microsoft.com/office/drawing/2014/main" xmlns="" id="{CC46DAAC-6E15-614B-BF78-360641A707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3050" y="213059"/>
            <a:ext cx="618476" cy="24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EDF073CA-D83E-8747-8819-6BADCE50A9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552" y="1179495"/>
            <a:ext cx="7920880" cy="3679560"/>
          </a:xfrm>
        </p:spPr>
        <p:txBody>
          <a:bodyPr>
            <a:normAutofit fontScale="92500" lnSpcReduction="20000"/>
          </a:bodyPr>
          <a:lstStyle/>
          <a:p>
            <a:pPr>
              <a:lnSpc>
                <a:spcPct val="150000"/>
              </a:lnSpc>
              <a:buClr>
                <a:schemeClr val="tx2"/>
              </a:buClr>
            </a:pPr>
            <a:r>
              <a:rPr lang="en-GB" sz="2000" b="1" dirty="0">
                <a:solidFill>
                  <a:srgbClr val="005EB8"/>
                </a:solidFill>
              </a:rPr>
              <a:t>Medicines</a:t>
            </a:r>
            <a:r>
              <a:rPr lang="en-GB" sz="2000" dirty="0">
                <a:solidFill>
                  <a:srgbClr val="005EB8"/>
                </a:solidFill>
              </a:rPr>
              <a:t>: accessible information to support prescription compliance</a:t>
            </a:r>
          </a:p>
          <a:p>
            <a:pPr>
              <a:lnSpc>
                <a:spcPct val="150000"/>
              </a:lnSpc>
              <a:buClr>
                <a:schemeClr val="tx2"/>
              </a:buClr>
            </a:pPr>
            <a:r>
              <a:rPr lang="en-GB" sz="2000" b="1" dirty="0">
                <a:solidFill>
                  <a:srgbClr val="005EB8"/>
                </a:solidFill>
              </a:rPr>
              <a:t>Diabetes</a:t>
            </a:r>
            <a:r>
              <a:rPr lang="en-GB" sz="2000" dirty="0">
                <a:solidFill>
                  <a:srgbClr val="005EB8"/>
                </a:solidFill>
              </a:rPr>
              <a:t>: practical, educational and emotional tools for newly diagnosed adults</a:t>
            </a:r>
          </a:p>
          <a:p>
            <a:pPr>
              <a:lnSpc>
                <a:spcPct val="150000"/>
              </a:lnSpc>
              <a:buClr>
                <a:schemeClr val="tx2"/>
              </a:buClr>
            </a:pPr>
            <a:r>
              <a:rPr lang="en-GB" sz="2000" b="1" dirty="0">
                <a:solidFill>
                  <a:srgbClr val="005EB8"/>
                </a:solidFill>
              </a:rPr>
              <a:t>Mental health</a:t>
            </a:r>
            <a:r>
              <a:rPr lang="en-GB" sz="2000" dirty="0">
                <a:solidFill>
                  <a:srgbClr val="005EB8"/>
                </a:solidFill>
              </a:rPr>
              <a:t>: improving data and digital access to services</a:t>
            </a:r>
          </a:p>
          <a:p>
            <a:pPr>
              <a:lnSpc>
                <a:spcPct val="150000"/>
              </a:lnSpc>
              <a:buClr>
                <a:schemeClr val="tx2"/>
              </a:buClr>
            </a:pPr>
            <a:r>
              <a:rPr lang="en-GB" sz="2000" b="1" dirty="0">
                <a:solidFill>
                  <a:srgbClr val="005EB8"/>
                </a:solidFill>
              </a:rPr>
              <a:t>Social care</a:t>
            </a:r>
            <a:r>
              <a:rPr lang="en-GB" sz="2000" dirty="0">
                <a:solidFill>
                  <a:srgbClr val="005EB8"/>
                </a:solidFill>
              </a:rPr>
              <a:t>: helping people to understand their options and access services</a:t>
            </a:r>
          </a:p>
          <a:p>
            <a:pPr>
              <a:lnSpc>
                <a:spcPct val="150000"/>
              </a:lnSpc>
              <a:buClr>
                <a:schemeClr val="tx2"/>
              </a:buClr>
            </a:pPr>
            <a:r>
              <a:rPr lang="en-GB" sz="2000" b="1" dirty="0">
                <a:solidFill>
                  <a:srgbClr val="005EB8"/>
                </a:solidFill>
              </a:rPr>
              <a:t>Maternity</a:t>
            </a:r>
            <a:r>
              <a:rPr lang="en-GB" sz="2000" dirty="0">
                <a:solidFill>
                  <a:srgbClr val="005EB8"/>
                </a:solidFill>
              </a:rPr>
              <a:t>: engaging, informing and signposting expectant parents</a:t>
            </a:r>
            <a:endParaRPr lang="en-US" sz="2000" dirty="0">
              <a:solidFill>
                <a:srgbClr val="005EB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2143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C19E5A6-FFC5-4441-ADEC-028BE7333B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0AA684-6FB9-400F-B313-F111F0F48737}" type="slidenum">
              <a:rPr lang="en-GB" smtClean="0">
                <a:solidFill>
                  <a:srgbClr val="FFFFFF"/>
                </a:solidFill>
              </a:rPr>
              <a:pPr/>
              <a:t>16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xmlns="" id="{F529C1A1-3E7A-4DD8-BBDB-6E5FB4287A94}"/>
              </a:ext>
            </a:extLst>
          </p:cNvPr>
          <p:cNvSpPr/>
          <p:nvPr/>
        </p:nvSpPr>
        <p:spPr>
          <a:xfrm>
            <a:off x="1620706" y="5911"/>
            <a:ext cx="5732382" cy="5732382"/>
          </a:xfrm>
          <a:prstGeom prst="ellipse">
            <a:avLst/>
          </a:prstGeom>
          <a:solidFill>
            <a:schemeClr val="bg1">
              <a:alpha val="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9170"/>
            <a:endParaRPr lang="en-GB" sz="2400">
              <a:solidFill>
                <a:srgbClr val="FFFFFF"/>
              </a:solidFill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xmlns="" id="{05811091-BBB5-47DB-9848-9331F3A593AC}"/>
              </a:ext>
            </a:extLst>
          </p:cNvPr>
          <p:cNvSpPr>
            <a:spLocks noGrp="1"/>
          </p:cNvSpPr>
          <p:nvPr/>
        </p:nvSpPr>
        <p:spPr>
          <a:xfrm>
            <a:off x="2493355" y="1808563"/>
            <a:ext cx="3945564" cy="2669692"/>
          </a:xfrm>
          <a:prstGeom prst="rect">
            <a:avLst/>
          </a:prstGeom>
        </p:spPr>
        <p:txBody>
          <a:bodyPr vert="horz" lIns="0" tIns="0" rIns="0" bIns="0" rtlCol="0">
            <a:normAutofit fontScale="85000" lnSpcReduction="20000"/>
          </a:bodyPr>
          <a:lstStyle>
            <a:lvl1pPr marL="457189" indent="-457189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90575" indent="-380990" algn="l" defTabSz="121917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333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itchFamily="34" charset="0"/>
              <a:buNone/>
            </a:pPr>
            <a:r>
              <a:rPr lang="en-GB" b="1" dirty="0">
                <a:solidFill>
                  <a:srgbClr val="FFB81C"/>
                </a:solidFill>
              </a:rPr>
              <a:t>Syndication</a:t>
            </a:r>
            <a:r>
              <a:rPr lang="en-GB" dirty="0">
                <a:solidFill>
                  <a:srgbClr val="FFFFFF"/>
                </a:solidFill>
              </a:rPr>
              <a:t/>
            </a:r>
            <a:br>
              <a:rPr lang="en-GB" dirty="0">
                <a:solidFill>
                  <a:srgbClr val="FFFFFF"/>
                </a:solidFill>
              </a:rPr>
            </a:br>
            <a:r>
              <a:rPr lang="en-GB" dirty="0">
                <a:solidFill>
                  <a:srgbClr val="FFFFFF"/>
                </a:solidFill>
              </a:rPr>
              <a:t>The service which allows third party organisations to integrate our content and service information through the implementation of </a:t>
            </a:r>
            <a:br>
              <a:rPr lang="en-GB" dirty="0">
                <a:solidFill>
                  <a:srgbClr val="FFFFFF"/>
                </a:solidFill>
              </a:rPr>
            </a:br>
            <a:r>
              <a:rPr lang="en-GB" dirty="0">
                <a:solidFill>
                  <a:srgbClr val="FFFFFF"/>
                </a:solidFill>
              </a:rPr>
              <a:t>APIs or widgets</a:t>
            </a:r>
          </a:p>
        </p:txBody>
      </p:sp>
    </p:spTree>
    <p:extLst>
      <p:ext uri="{BB962C8B-B14F-4D97-AF65-F5344CB8AC3E}">
        <p14:creationId xmlns:p14="http://schemas.microsoft.com/office/powerpoint/2010/main" val="3779022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" name="Shape 221"/>
          <p:cNvSpPr/>
          <p:nvPr/>
        </p:nvSpPr>
        <p:spPr>
          <a:xfrm>
            <a:off x="0" y="2046100"/>
            <a:ext cx="9144000" cy="30975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buClr>
                <a:srgbClr val="000000"/>
              </a:buClr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22" name="Shape 222"/>
          <p:cNvPicPr preferRelativeResize="0"/>
          <p:nvPr/>
        </p:nvPicPr>
        <p:blipFill rotWithShape="1">
          <a:blip r:embed="rId3">
            <a:alphaModFix/>
          </a:blip>
          <a:srcRect b="13457"/>
          <a:stretch/>
        </p:blipFill>
        <p:spPr>
          <a:xfrm>
            <a:off x="-3475" y="1566451"/>
            <a:ext cx="9144000" cy="3577152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Shape 88">
            <a:extLst>
              <a:ext uri="{FF2B5EF4-FFF2-40B4-BE49-F238E27FC236}">
                <a16:creationId xmlns:a16="http://schemas.microsoft.com/office/drawing/2014/main" xmlns="" id="{2E29A309-9539-D64C-8BFA-FF103DAABDDE}"/>
              </a:ext>
            </a:extLst>
          </p:cNvPr>
          <p:cNvSpPr/>
          <p:nvPr/>
        </p:nvSpPr>
        <p:spPr>
          <a:xfrm>
            <a:off x="0" y="0"/>
            <a:ext cx="9144000" cy="9941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82283" tIns="82283" rIns="82283" bIns="82283" anchor="ctr" anchorCtr="0">
            <a:noAutofit/>
          </a:bodyPr>
          <a:lstStyle/>
          <a:p>
            <a:pPr defTabSz="822960">
              <a:buClr>
                <a:srgbClr val="000000"/>
              </a:buClr>
            </a:pPr>
            <a:r>
              <a:rPr lang="en-GB" sz="3600" kern="0" dirty="0">
                <a:solidFill>
                  <a:schemeClr val="bg1"/>
                </a:solidFill>
                <a:latin typeface="+mj-lt"/>
                <a:cs typeface="Arial"/>
                <a:sym typeface="Arial"/>
              </a:rPr>
              <a:t>  </a:t>
            </a:r>
            <a:r>
              <a:rPr lang="en-GB" sz="3600" b="1" kern="0" dirty="0">
                <a:solidFill>
                  <a:schemeClr val="bg1"/>
                </a:solidFill>
                <a:latin typeface="+mj-lt"/>
                <a:cs typeface="Arial"/>
                <a:sym typeface="Arial"/>
              </a:rPr>
              <a:t>New content API</a:t>
            </a:r>
            <a:endParaRPr sz="3600" b="1" kern="0" dirty="0">
              <a:solidFill>
                <a:schemeClr val="bg1"/>
              </a:solidFill>
              <a:latin typeface="+mj-lt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94593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Shape 228"/>
          <p:cNvSpPr/>
          <p:nvPr/>
        </p:nvSpPr>
        <p:spPr>
          <a:xfrm>
            <a:off x="0" y="1817500"/>
            <a:ext cx="3789000" cy="33261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914378">
              <a:buClr>
                <a:srgbClr val="000000"/>
              </a:buClr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30" name="Shape 230"/>
          <p:cNvPicPr preferRelativeResize="0"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8176" y="1817500"/>
            <a:ext cx="5303202" cy="3326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5C59309C-FE23-4CAD-BF60-90D823B94B1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35025"/>
          <a:stretch/>
        </p:blipFill>
        <p:spPr>
          <a:xfrm>
            <a:off x="79363" y="1902224"/>
            <a:ext cx="3621962" cy="2901774"/>
          </a:xfrm>
          <a:prstGeom prst="rect">
            <a:avLst/>
          </a:prstGeom>
        </p:spPr>
      </p:pic>
      <p:sp>
        <p:nvSpPr>
          <p:cNvPr id="6" name="Shape 88">
            <a:extLst>
              <a:ext uri="{FF2B5EF4-FFF2-40B4-BE49-F238E27FC236}">
                <a16:creationId xmlns:a16="http://schemas.microsoft.com/office/drawing/2014/main" xmlns="" id="{B2F46567-A5D4-F84C-AFED-F0805C5A00C3}"/>
              </a:ext>
            </a:extLst>
          </p:cNvPr>
          <p:cNvSpPr/>
          <p:nvPr/>
        </p:nvSpPr>
        <p:spPr>
          <a:xfrm>
            <a:off x="0" y="0"/>
            <a:ext cx="9144000" cy="9941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82283" tIns="82283" rIns="82283" bIns="82283" anchor="ctr" anchorCtr="0">
            <a:noAutofit/>
          </a:bodyPr>
          <a:lstStyle/>
          <a:p>
            <a:pPr defTabSz="822960">
              <a:buClr>
                <a:srgbClr val="000000"/>
              </a:buClr>
            </a:pPr>
            <a:r>
              <a:rPr lang="en-GB" sz="4000" kern="0" dirty="0">
                <a:solidFill>
                  <a:schemeClr val="bg1"/>
                </a:solidFill>
                <a:latin typeface="+mj-lt"/>
                <a:cs typeface="Arial"/>
                <a:sym typeface="Arial"/>
              </a:rPr>
              <a:t>  </a:t>
            </a:r>
            <a:r>
              <a:rPr lang="en-GB" sz="4000" b="1" kern="0" dirty="0">
                <a:solidFill>
                  <a:schemeClr val="bg1"/>
                </a:solidFill>
                <a:latin typeface="+mj-lt"/>
                <a:cs typeface="Arial"/>
                <a:sym typeface="Arial"/>
              </a:rPr>
              <a:t>New API developer portal</a:t>
            </a:r>
            <a:endParaRPr sz="4000" b="1" kern="0" dirty="0">
              <a:solidFill>
                <a:schemeClr val="bg1"/>
              </a:solidFill>
              <a:latin typeface="+mj-lt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3409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Shape 228"/>
          <p:cNvSpPr/>
          <p:nvPr/>
        </p:nvSpPr>
        <p:spPr>
          <a:xfrm>
            <a:off x="0" y="1171506"/>
            <a:ext cx="9144000" cy="3972094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914378">
              <a:buClr>
                <a:srgbClr val="000000"/>
              </a:buClr>
              <a:defRPr/>
            </a:pPr>
            <a:endParaRPr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xmlns="" id="{C19C09A5-0D31-4C44-ADE0-D10026B649A8}"/>
              </a:ext>
            </a:extLst>
          </p:cNvPr>
          <p:cNvSpPr/>
          <p:nvPr/>
        </p:nvSpPr>
        <p:spPr>
          <a:xfrm>
            <a:off x="541978" y="2403842"/>
            <a:ext cx="2081894" cy="208189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27" name="Shape 227"/>
          <p:cNvSpPr txBox="1">
            <a:spLocks noGrp="1"/>
          </p:cNvSpPr>
          <p:nvPr>
            <p:ph type="title"/>
          </p:nvPr>
        </p:nvSpPr>
        <p:spPr>
          <a:xfrm>
            <a:off x="480125" y="131406"/>
            <a:ext cx="8176800" cy="10401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/>
          <a:p>
            <a:r>
              <a:rPr lang="en-GB" b="1" dirty="0">
                <a:latin typeface="+mj-lt"/>
              </a:rPr>
              <a:t>API usage</a:t>
            </a:r>
            <a:endParaRPr sz="1600" dirty="0">
              <a:latin typeface="+mj-l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5402159E-A550-C043-8E6F-30C0F9C9BF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60878" y="2403842"/>
            <a:ext cx="2090058" cy="209005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614E6CB8-EE0B-3742-8645-85272B5395F0}"/>
              </a:ext>
            </a:extLst>
          </p:cNvPr>
          <p:cNvSpPr/>
          <p:nvPr/>
        </p:nvSpPr>
        <p:spPr>
          <a:xfrm>
            <a:off x="3913438" y="1765196"/>
            <a:ext cx="1184940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85800">
              <a:defRPr/>
            </a:pPr>
            <a:r>
              <a:rPr lang="en-GB" sz="2700" dirty="0">
                <a:solidFill>
                  <a:srgbClr val="FFFFFF"/>
                </a:solidFill>
                <a:latin typeface="Arial"/>
              </a:rPr>
              <a:t>Usage</a:t>
            </a:r>
            <a:endParaRPr lang="en-US" sz="27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FCC3A68E-34BB-A74D-8FCD-28DCD2DD6ADE}"/>
              </a:ext>
            </a:extLst>
          </p:cNvPr>
          <p:cNvSpPr/>
          <p:nvPr/>
        </p:nvSpPr>
        <p:spPr>
          <a:xfrm>
            <a:off x="793887" y="1765196"/>
            <a:ext cx="1531188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85800">
              <a:defRPr/>
            </a:pPr>
            <a:r>
              <a:rPr lang="en-GB" sz="2700" dirty="0">
                <a:solidFill>
                  <a:srgbClr val="FFFFFF"/>
                </a:solidFill>
                <a:latin typeface="Arial"/>
              </a:rPr>
              <a:t>Sign ups</a:t>
            </a:r>
            <a:endParaRPr lang="en-US" sz="27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1215D7A9-4800-124B-AA2B-BEDC1F21008C}"/>
              </a:ext>
            </a:extLst>
          </p:cNvPr>
          <p:cNvSpPr/>
          <p:nvPr/>
        </p:nvSpPr>
        <p:spPr>
          <a:xfrm>
            <a:off x="6820677" y="1765196"/>
            <a:ext cx="1184940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85800">
              <a:defRPr/>
            </a:pPr>
            <a:r>
              <a:rPr lang="en-GB" sz="2700" dirty="0">
                <a:solidFill>
                  <a:srgbClr val="FFFFFF"/>
                </a:solidFill>
                <a:latin typeface="Arial"/>
              </a:rPr>
              <a:t>Reach</a:t>
            </a:r>
            <a:endParaRPr lang="en-US" sz="27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70764D01-7045-3848-8AC6-8D7939D850E6}"/>
              </a:ext>
            </a:extLst>
          </p:cNvPr>
          <p:cNvSpPr/>
          <p:nvPr/>
        </p:nvSpPr>
        <p:spPr>
          <a:xfrm>
            <a:off x="841375" y="2938926"/>
            <a:ext cx="1483098" cy="9694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85800">
              <a:defRPr/>
            </a:pPr>
            <a:r>
              <a:rPr lang="en-GB" sz="4500" dirty="0">
                <a:solidFill>
                  <a:srgbClr val="1872C7"/>
                </a:solidFill>
                <a:latin typeface="Arial"/>
              </a:rPr>
              <a:t>500+</a:t>
            </a:r>
            <a:r>
              <a:rPr lang="en-GB" sz="2700" dirty="0">
                <a:solidFill>
                  <a:srgbClr val="1872C7"/>
                </a:solidFill>
                <a:latin typeface="Arial"/>
              </a:rPr>
              <a:t/>
            </a:r>
            <a:br>
              <a:rPr lang="en-GB" sz="2700" dirty="0">
                <a:solidFill>
                  <a:srgbClr val="1872C7"/>
                </a:solidFill>
                <a:latin typeface="Arial"/>
              </a:rPr>
            </a:br>
            <a:r>
              <a:rPr lang="en-GB" sz="1200" dirty="0">
                <a:solidFill>
                  <a:srgbClr val="1872C7"/>
                </a:solidFill>
                <a:latin typeface="Arial"/>
              </a:rPr>
              <a:t>(Sept 17 - Jun 18)</a:t>
            </a:r>
            <a:endParaRPr lang="en-US" sz="2700" dirty="0">
              <a:solidFill>
                <a:srgbClr val="1872C7"/>
              </a:solidFill>
              <a:latin typeface="Arial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xmlns="" id="{45141735-22A5-2A41-98B3-CD0D32C9C38D}"/>
              </a:ext>
            </a:extLst>
          </p:cNvPr>
          <p:cNvSpPr/>
          <p:nvPr/>
        </p:nvSpPr>
        <p:spPr>
          <a:xfrm>
            <a:off x="6372200" y="2403842"/>
            <a:ext cx="2081894" cy="208189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F23A2428-9C84-E940-898E-7D9F1FF92063}"/>
              </a:ext>
            </a:extLst>
          </p:cNvPr>
          <p:cNvSpPr/>
          <p:nvPr/>
        </p:nvSpPr>
        <p:spPr>
          <a:xfrm>
            <a:off x="6614823" y="2938926"/>
            <a:ext cx="1640193" cy="11541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85800">
              <a:defRPr/>
            </a:pPr>
            <a:r>
              <a:rPr lang="en-GB" sz="4500" dirty="0">
                <a:solidFill>
                  <a:srgbClr val="1872C7"/>
                </a:solidFill>
                <a:latin typeface="Arial"/>
              </a:rPr>
              <a:t>5m+</a:t>
            </a:r>
            <a:r>
              <a:rPr lang="en-GB" sz="2700" dirty="0">
                <a:solidFill>
                  <a:srgbClr val="1872C7"/>
                </a:solidFill>
                <a:latin typeface="Arial"/>
              </a:rPr>
              <a:t/>
            </a:r>
            <a:br>
              <a:rPr lang="en-GB" sz="2700" dirty="0">
                <a:solidFill>
                  <a:srgbClr val="1872C7"/>
                </a:solidFill>
                <a:latin typeface="Arial"/>
              </a:rPr>
            </a:br>
            <a:r>
              <a:rPr lang="en-GB" sz="1200" dirty="0">
                <a:solidFill>
                  <a:srgbClr val="1872C7"/>
                </a:solidFill>
                <a:latin typeface="Arial"/>
              </a:rPr>
              <a:t>(monthly views</a:t>
            </a:r>
            <a:br>
              <a:rPr lang="en-GB" sz="1200" dirty="0">
                <a:solidFill>
                  <a:srgbClr val="1872C7"/>
                </a:solidFill>
                <a:latin typeface="Arial"/>
              </a:rPr>
            </a:br>
            <a:r>
              <a:rPr lang="en-GB" sz="1200" dirty="0">
                <a:solidFill>
                  <a:srgbClr val="1872C7"/>
                </a:solidFill>
                <a:latin typeface="Arial"/>
              </a:rPr>
              <a:t>excluding app usage)</a:t>
            </a:r>
            <a:endParaRPr lang="en-US" sz="2700" dirty="0">
              <a:solidFill>
                <a:srgbClr val="1872C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14143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2"/>
          </p:nvPr>
        </p:nvSpPr>
        <p:spPr>
          <a:xfrm>
            <a:off x="6519045" y="4731990"/>
            <a:ext cx="2133600" cy="273844"/>
          </a:xfrm>
        </p:spPr>
        <p:txBody>
          <a:bodyPr/>
          <a:lstStyle/>
          <a:p>
            <a:fld id="{86CB4B4D-7CA3-9044-876B-883B54F8677D}" type="slidenum">
              <a:rPr lang="en-GB" smtClean="0">
                <a:solidFill>
                  <a:srgbClr val="0F0F0F">
                    <a:tint val="75000"/>
                  </a:srgbClr>
                </a:solidFill>
              </a:rPr>
              <a:pPr/>
              <a:t>2</a:t>
            </a:fld>
            <a:endParaRPr lang="en-GB">
              <a:solidFill>
                <a:srgbClr val="0F0F0F">
                  <a:tint val="75000"/>
                </a:srgbClr>
              </a:solidFill>
            </a:endParaRPr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430912"/>
            <a:ext cx="2383176" cy="2383176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34" t="6699" r="4253" b="4412"/>
          <a:stretch/>
        </p:blipFill>
        <p:spPr bwMode="auto">
          <a:xfrm>
            <a:off x="3386622" y="417898"/>
            <a:ext cx="2379406" cy="243840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68" name="Picture 4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30" t="2147" r="3013" b="3990"/>
          <a:stretch/>
        </p:blipFill>
        <p:spPr bwMode="auto">
          <a:xfrm>
            <a:off x="6519047" y="398233"/>
            <a:ext cx="2426103" cy="242610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07504" y="3330796"/>
            <a:ext cx="25271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spc="-40" dirty="0">
                <a:solidFill>
                  <a:schemeClr val="bg1"/>
                </a:solidFill>
                <a:latin typeface="Arial" panose="020B0604020202020204" pitchFamily="34" charset="0"/>
              </a:rPr>
              <a:t>Juliet Bauer</a:t>
            </a:r>
          </a:p>
          <a:p>
            <a:pPr algn="ctr"/>
            <a:r>
              <a:rPr lang="en-GB" b="1" spc="-40" dirty="0">
                <a:solidFill>
                  <a:schemeClr val="bg1"/>
                </a:solidFill>
                <a:latin typeface="Arial" panose="020B0604020202020204" pitchFamily="34" charset="0"/>
              </a:rPr>
              <a:t>Chief Digital </a:t>
            </a:r>
            <a:r>
              <a:rPr lang="en-GB" b="1" spc="-40" dirty="0" smtClean="0">
                <a:solidFill>
                  <a:schemeClr val="bg1"/>
                </a:solidFill>
                <a:latin typeface="Arial" panose="020B0604020202020204" pitchFamily="34" charset="0"/>
              </a:rPr>
              <a:t>Officer</a:t>
            </a:r>
          </a:p>
          <a:p>
            <a:pPr algn="ctr"/>
            <a:r>
              <a:rPr lang="en-GB" b="1" spc="-40" dirty="0" smtClean="0">
                <a:solidFill>
                  <a:schemeClr val="bg1"/>
                </a:solidFill>
                <a:latin typeface="Arial" panose="020B0604020202020204" pitchFamily="34" charset="0"/>
              </a:rPr>
              <a:t>NHS </a:t>
            </a:r>
            <a:r>
              <a:rPr lang="en-GB" b="1" spc="-40" dirty="0">
                <a:solidFill>
                  <a:schemeClr val="bg1"/>
                </a:solidFill>
                <a:latin typeface="Arial" panose="020B0604020202020204" pitchFamily="34" charset="0"/>
              </a:rPr>
              <a:t>England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026582" y="3323694"/>
            <a:ext cx="30994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spc="-40" dirty="0">
                <a:solidFill>
                  <a:schemeClr val="bg1"/>
                </a:solidFill>
                <a:latin typeface="Arial" panose="020B0604020202020204" pitchFamily="34" charset="0"/>
              </a:rPr>
              <a:t>Adam </a:t>
            </a:r>
            <a:r>
              <a:rPr lang="en-GB" b="1" spc="-40" dirty="0" smtClean="0">
                <a:solidFill>
                  <a:schemeClr val="bg1"/>
                </a:solidFill>
                <a:latin typeface="Arial" panose="020B0604020202020204" pitchFamily="34" charset="0"/>
              </a:rPr>
              <a:t>Lewis</a:t>
            </a:r>
          </a:p>
          <a:p>
            <a:pPr algn="ctr"/>
            <a:r>
              <a:rPr lang="en-GB" b="1" spc="-40" dirty="0" smtClean="0">
                <a:solidFill>
                  <a:schemeClr val="bg1"/>
                </a:solidFill>
                <a:latin typeface="Arial" panose="020B0604020202020204" pitchFamily="34" charset="0"/>
              </a:rPr>
              <a:t>Citizen ID Programme Lead</a:t>
            </a:r>
          </a:p>
          <a:p>
            <a:pPr algn="ctr"/>
            <a:r>
              <a:rPr lang="en-GB" b="1" spc="-40" dirty="0" smtClean="0">
                <a:solidFill>
                  <a:schemeClr val="bg1"/>
                </a:solidFill>
                <a:latin typeface="Arial" panose="020B0604020202020204" pitchFamily="34" charset="0"/>
              </a:rPr>
              <a:t>NHS Digital </a:t>
            </a:r>
            <a:endParaRPr lang="en-GB" b="1" spc="-4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149491" y="3330796"/>
            <a:ext cx="316521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spc="-40" dirty="0">
                <a:solidFill>
                  <a:schemeClr val="bg1"/>
                </a:solidFill>
                <a:latin typeface="Arial" panose="020B0604020202020204" pitchFamily="34" charset="0"/>
              </a:rPr>
              <a:t>Marc </a:t>
            </a:r>
            <a:r>
              <a:rPr lang="en-GB" b="1" spc="-40" dirty="0" err="1" smtClean="0">
                <a:solidFill>
                  <a:schemeClr val="bg1"/>
                </a:solidFill>
                <a:latin typeface="Arial" panose="020B0604020202020204" pitchFamily="34" charset="0"/>
              </a:rPr>
              <a:t>Heasman</a:t>
            </a:r>
            <a:endParaRPr lang="en-GB" b="1" spc="-40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algn="ctr"/>
            <a:r>
              <a:rPr lang="en-GB" b="1" spc="-40" dirty="0" smtClean="0">
                <a:solidFill>
                  <a:schemeClr val="bg1"/>
                </a:solidFill>
                <a:latin typeface="Arial" panose="020B0604020202020204" pitchFamily="34" charset="0"/>
              </a:rPr>
              <a:t>NHS.UK Head of Product </a:t>
            </a:r>
          </a:p>
          <a:p>
            <a:pPr algn="ctr"/>
            <a:r>
              <a:rPr lang="en-GB" b="1" spc="-40" dirty="0" smtClean="0">
                <a:solidFill>
                  <a:schemeClr val="bg1"/>
                </a:solidFill>
                <a:latin typeface="Arial" panose="020B0604020202020204" pitchFamily="34" charset="0"/>
              </a:rPr>
              <a:t>NHS Digital</a:t>
            </a:r>
            <a:endParaRPr lang="en-GB" b="1" spc="-4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87940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" name="Shape 235"/>
          <p:cNvSpPr/>
          <p:nvPr/>
        </p:nvSpPr>
        <p:spPr>
          <a:xfrm>
            <a:off x="0" y="1817500"/>
            <a:ext cx="9144000" cy="3326100"/>
          </a:xfrm>
          <a:prstGeom prst="rect">
            <a:avLst/>
          </a:prstGeom>
          <a:solidFill>
            <a:srgbClr val="0072C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914378">
              <a:buClr>
                <a:srgbClr val="000000"/>
              </a:buClr>
              <a:buSzPts val="1100"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36" name="Shape 236"/>
          <p:cNvSpPr txBox="1"/>
          <p:nvPr/>
        </p:nvSpPr>
        <p:spPr>
          <a:xfrm rot="-830316">
            <a:off x="-208942" y="1058289"/>
            <a:ext cx="4049957" cy="1382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defTabSz="914378">
              <a:buClr>
                <a:srgbClr val="000000"/>
              </a:buClr>
            </a:pPr>
            <a:r>
              <a:rPr lang="en-GB" sz="29999" kern="0">
                <a:solidFill>
                  <a:srgbClr val="3D9AD1"/>
                </a:solidFill>
                <a:latin typeface="Arial"/>
                <a:cs typeface="Arial"/>
                <a:sym typeface="Arial"/>
              </a:rPr>
              <a:t>“”</a:t>
            </a:r>
            <a:endParaRPr sz="29999" kern="0">
              <a:solidFill>
                <a:srgbClr val="3D9AD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37" name="Shape 237"/>
          <p:cNvSpPr txBox="1">
            <a:spLocks noGrp="1"/>
          </p:cNvSpPr>
          <p:nvPr>
            <p:ph type="title"/>
          </p:nvPr>
        </p:nvSpPr>
        <p:spPr>
          <a:xfrm>
            <a:off x="480125" y="322243"/>
            <a:ext cx="8410800" cy="10401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/>
          <a:p>
            <a:r>
              <a:rPr lang="en-GB" b="1" dirty="0"/>
              <a:t>Feedback</a:t>
            </a:r>
            <a:r>
              <a:rPr lang="en-GB" dirty="0"/>
              <a:t/>
            </a:r>
            <a:br>
              <a:rPr lang="en-GB" dirty="0"/>
            </a:br>
            <a:endParaRPr sz="1500" dirty="0"/>
          </a:p>
        </p:txBody>
      </p:sp>
      <p:sp>
        <p:nvSpPr>
          <p:cNvPr id="238" name="Shape 238"/>
          <p:cNvSpPr txBox="1"/>
          <p:nvPr/>
        </p:nvSpPr>
        <p:spPr>
          <a:xfrm>
            <a:off x="480125" y="2324800"/>
            <a:ext cx="3824100" cy="23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defTabSz="914378">
              <a:buClr>
                <a:srgbClr val="000000"/>
              </a:buClr>
              <a:buSzPts val="1100"/>
            </a:pPr>
            <a:r>
              <a:rPr lang="en-GB" kern="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“It’s great that we’ll be able to maintain the consistency and quality of information patients receive, providing a personalised app that incorporates the validity and reliability that NHS Choices content contains.”</a:t>
            </a:r>
            <a:endParaRPr kern="0" dirty="0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defTabSz="914378">
              <a:buClr>
                <a:srgbClr val="000000"/>
              </a:buClr>
              <a:buSzPts val="1100"/>
            </a:pPr>
            <a:endParaRPr kern="0" dirty="0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defTabSz="914378">
              <a:buClr>
                <a:srgbClr val="000000"/>
              </a:buClr>
            </a:pPr>
            <a:endParaRPr kern="0" dirty="0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39" name="Shape 239"/>
          <p:cNvSpPr txBox="1"/>
          <p:nvPr/>
        </p:nvSpPr>
        <p:spPr>
          <a:xfrm>
            <a:off x="4797775" y="2074350"/>
            <a:ext cx="3922800" cy="180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defTabSz="914378">
              <a:buClr>
                <a:srgbClr val="000000"/>
              </a:buClr>
            </a:pPr>
            <a:r>
              <a:rPr lang="en-GB" kern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“much improved on the previous system - clean and easy to follow”</a:t>
            </a:r>
            <a:endParaRPr kern="0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defTabSz="914378">
              <a:buClr>
                <a:srgbClr val="000000"/>
              </a:buClr>
            </a:pPr>
            <a:endParaRPr kern="0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defTabSz="914378">
              <a:buClr>
                <a:srgbClr val="000000"/>
              </a:buClr>
              <a:buSzPts val="1100"/>
            </a:pPr>
            <a:r>
              <a:rPr lang="en-GB" kern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“This is honestly, the first time in 5 years of development (yep, that’s how long it’s taken to integrate through with GPs) that I can say it’s been a pleasure dealing with an NHS Organisation.”</a:t>
            </a:r>
            <a:endParaRPr kern="0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1E7E8069-7C8F-E140-BF13-5D6D65B97B7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699"/>
          <a:stretch/>
        </p:blipFill>
        <p:spPr>
          <a:xfrm>
            <a:off x="0" y="1167493"/>
            <a:ext cx="9144000" cy="3976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716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03121524-9323-4072-BEBA-2B1D5D53FC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dirty="0" smtClean="0"/>
              <a:t>NHS website </a:t>
            </a:r>
            <a:r>
              <a:rPr lang="en-GB" dirty="0"/>
              <a:t>– what it means for </a:t>
            </a:r>
            <a:r>
              <a:rPr lang="en-GB" dirty="0" smtClean="0"/>
              <a:t>you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0A0D4061-83C2-44D9-A3FA-4274AF14AD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lvl="0"/>
            <a:r>
              <a:rPr lang="en-GB" sz="2800" dirty="0" smtClean="0"/>
              <a:t>Integrate</a:t>
            </a:r>
            <a:endParaRPr lang="en-GB" sz="2800" dirty="0"/>
          </a:p>
          <a:p>
            <a:pPr lvl="0"/>
            <a:endParaRPr lang="en-GB" sz="2800" dirty="0" smtClean="0"/>
          </a:p>
          <a:p>
            <a:pPr lvl="0"/>
            <a:r>
              <a:rPr lang="en-GB" sz="2800" dirty="0" smtClean="0"/>
              <a:t>Promote</a:t>
            </a:r>
          </a:p>
          <a:p>
            <a:pPr lvl="0"/>
            <a:endParaRPr lang="en-GB" sz="2800" dirty="0" smtClean="0"/>
          </a:p>
          <a:p>
            <a:pPr lvl="0"/>
            <a:r>
              <a:rPr lang="en-GB" sz="2800" dirty="0" smtClean="0"/>
              <a:t>Direct</a:t>
            </a:r>
          </a:p>
          <a:p>
            <a:pPr lvl="0"/>
            <a:endParaRPr lang="en-GB" sz="2800" dirty="0" smtClean="0"/>
          </a:p>
          <a:p>
            <a:pPr lvl="0"/>
            <a:r>
              <a:rPr lang="en-GB" sz="2800" dirty="0" smtClean="0"/>
              <a:t>Explore</a:t>
            </a:r>
            <a:endParaRPr lang="en-GB" sz="3200" dirty="0"/>
          </a:p>
          <a:p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2193724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Shape 101"/>
          <p:cNvSpPr txBox="1"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spcFirstLastPara="1" vert="horz" wrap="square" lIns="82281" tIns="41129" rIns="82281" bIns="41129" rtlCol="0" anchor="ctr" anchorCtr="0">
            <a:noAutofit/>
          </a:bodyPr>
          <a:lstStyle/>
          <a:p>
            <a:pPr algn="l" defTabSz="822940">
              <a:buClr>
                <a:srgbClr val="FFFFFF"/>
              </a:buClr>
              <a:buSzPts val="1000"/>
              <a:defRPr/>
            </a:pPr>
            <a:fld id="{00000000-1234-1234-1234-123412341234}" type="slidenum">
              <a:rPr lang="en-US" sz="1275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pPr algn="l" defTabSz="822940">
                <a:buClr>
                  <a:srgbClr val="FFFFFF"/>
                </a:buClr>
                <a:buSzPts val="1000"/>
                <a:defRPr/>
              </a:pPr>
              <a:t>22</a:t>
            </a:fld>
            <a:endParaRPr sz="1275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220072" y="1923678"/>
            <a:ext cx="3850157" cy="7848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4500" b="1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The NHS App</a:t>
            </a:r>
          </a:p>
        </p:txBody>
      </p:sp>
      <p:pic>
        <p:nvPicPr>
          <p:cNvPr id="6" name="Shape 102">
            <a:extLst>
              <a:ext uri="{FF2B5EF4-FFF2-40B4-BE49-F238E27FC236}">
                <a16:creationId xmlns="" xmlns:a16="http://schemas.microsoft.com/office/drawing/2014/main" id="{6B48D81A-D040-493E-8106-EAA0D098E4A1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t="23295" r="40333"/>
          <a:stretch/>
        </p:blipFill>
        <p:spPr>
          <a:xfrm>
            <a:off x="3429203" y="20537"/>
            <a:ext cx="5714797" cy="514350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hape 306">
            <a:extLst>
              <a:ext uri="{FF2B5EF4-FFF2-40B4-BE49-F238E27FC236}">
                <a16:creationId xmlns="" xmlns:a16="http://schemas.microsoft.com/office/drawing/2014/main" id="{034ABC30-F96E-42BE-A75E-729A6916B7B4}"/>
              </a:ext>
            </a:extLst>
          </p:cNvPr>
          <p:cNvSpPr/>
          <p:nvPr/>
        </p:nvSpPr>
        <p:spPr>
          <a:xfrm>
            <a:off x="360000" y="360000"/>
            <a:ext cx="2980672" cy="5077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68562" tIns="68562" rIns="68562" bIns="68562">
            <a:spAutoFit/>
          </a:bodyPr>
          <a:lstStyle/>
          <a:p>
            <a:pPr>
              <a:defRPr sz="1600" b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lang="en-GB" sz="2400" dirty="0">
                <a:latin typeface="+mj-lt"/>
              </a:rPr>
              <a:t>The NHS App</a:t>
            </a:r>
            <a:endParaRPr sz="1600" dirty="0"/>
          </a:p>
        </p:txBody>
      </p:sp>
      <p:sp>
        <p:nvSpPr>
          <p:cNvPr id="12" name="Shape 306">
            <a:extLst>
              <a:ext uri="{FF2B5EF4-FFF2-40B4-BE49-F238E27FC236}">
                <a16:creationId xmlns="" xmlns:a16="http://schemas.microsoft.com/office/drawing/2014/main" id="{FA7F8C50-FEDF-4FAD-824C-AC5E37AE8DEB}"/>
              </a:ext>
            </a:extLst>
          </p:cNvPr>
          <p:cNvSpPr/>
          <p:nvPr/>
        </p:nvSpPr>
        <p:spPr>
          <a:xfrm>
            <a:off x="360000" y="987574"/>
            <a:ext cx="2759038" cy="7232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68562" tIns="68562" rIns="68562" bIns="68562">
            <a:spAutoFit/>
          </a:bodyPr>
          <a:lstStyle/>
          <a:p>
            <a:pPr>
              <a:defRPr sz="1100">
                <a:solidFill>
                  <a:srgbClr val="FFFFFF"/>
                </a:solidFill>
              </a:defRPr>
            </a:pPr>
            <a:endParaRPr lang="en-GB" sz="1600" b="1" dirty="0">
              <a:solidFill>
                <a:srgbClr val="FFFF00"/>
              </a:solidFill>
            </a:endParaRPr>
          </a:p>
          <a:p>
            <a:pPr>
              <a:defRPr sz="1100">
                <a:solidFill>
                  <a:srgbClr val="FFFFFF"/>
                </a:solidFill>
              </a:defRPr>
            </a:pPr>
            <a:endParaRPr lang="en-GB" dirty="0"/>
          </a:p>
          <a:p>
            <a:pPr>
              <a:defRPr sz="1100">
                <a:solidFill>
                  <a:srgbClr val="FFFFFF"/>
                </a:solidFill>
              </a:defRPr>
            </a:pPr>
            <a:endParaRPr lang="en-GB" dirty="0"/>
          </a:p>
        </p:txBody>
      </p:sp>
      <p:sp>
        <p:nvSpPr>
          <p:cNvPr id="7" name="Shape 306">
            <a:extLst>
              <a:ext uri="{FF2B5EF4-FFF2-40B4-BE49-F238E27FC236}">
                <a16:creationId xmlns="" xmlns:a16="http://schemas.microsoft.com/office/drawing/2014/main" id="{2D07D79B-2106-4BE6-9233-0A38C31568F0}"/>
              </a:ext>
            </a:extLst>
          </p:cNvPr>
          <p:cNvSpPr/>
          <p:nvPr/>
        </p:nvSpPr>
        <p:spPr>
          <a:xfrm>
            <a:off x="360000" y="987574"/>
            <a:ext cx="2759038" cy="36317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68562" tIns="68562" rIns="68562" bIns="68562">
            <a:spAutoFit/>
          </a:bodyPr>
          <a:lstStyle/>
          <a:p>
            <a:pPr>
              <a:lnSpc>
                <a:spcPct val="120000"/>
              </a:lnSpc>
            </a:pPr>
            <a:r>
              <a:rPr lang="en-GB" dirty="0">
                <a:solidFill>
                  <a:schemeClr val="bg1"/>
                </a:solidFill>
              </a:rPr>
              <a:t>Provides a single point of access to: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GB" dirty="0">
              <a:solidFill>
                <a:schemeClr val="bg1"/>
              </a:solidFill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Appointment booking, health records, NHS 111 Online and  repeat prescriptions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GB" dirty="0">
              <a:solidFill>
                <a:schemeClr val="bg1"/>
              </a:solidFill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bg1"/>
                </a:solidFill>
              </a:rPr>
              <a:t>Local digital NHS services</a:t>
            </a:r>
            <a:endParaRPr lang="en-GB" dirty="0"/>
          </a:p>
          <a:p>
            <a:pPr>
              <a:defRPr sz="1100">
                <a:solidFill>
                  <a:srgbClr val="FFFFFF"/>
                </a:solidFill>
              </a:defRPr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4424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375C21B9-CF9E-AA4A-9D5B-CA7E6156F3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HS App private beta featur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="" xmlns:a16="http://schemas.microsoft.com/office/drawing/2014/main" id="{13948DA6-6175-9446-9F93-68AC83F76391}"/>
              </a:ext>
            </a:extLst>
          </p:cNvPr>
          <p:cNvGrpSpPr/>
          <p:nvPr/>
        </p:nvGrpSpPr>
        <p:grpSpPr>
          <a:xfrm>
            <a:off x="4577753" y="3094216"/>
            <a:ext cx="2199600" cy="1728000"/>
            <a:chOff x="4649890" y="2766047"/>
            <a:chExt cx="1974527" cy="1499324"/>
          </a:xfrm>
        </p:grpSpPr>
        <p:sp>
          <p:nvSpPr>
            <p:cNvPr id="11" name="Shape 106">
              <a:extLst>
                <a:ext uri="{FF2B5EF4-FFF2-40B4-BE49-F238E27FC236}">
                  <a16:creationId xmlns="" xmlns:a16="http://schemas.microsoft.com/office/drawing/2014/main" id="{A2EB0861-BEEF-1C4C-BE55-343C3CEC2833}"/>
                </a:ext>
              </a:extLst>
            </p:cNvPr>
            <p:cNvSpPr/>
            <p:nvPr/>
          </p:nvSpPr>
          <p:spPr>
            <a:xfrm>
              <a:off x="4668681" y="3269038"/>
              <a:ext cx="1952459" cy="9963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2400" tIns="41148" rIns="64800" bIns="4114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315" indent="-154305">
                <a:spcAft>
                  <a:spcPts val="270"/>
                </a:spcAft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5EB8"/>
                  </a:solidFill>
                </a:rPr>
                <a:t>Organ Donation Registration web page surfaced</a:t>
              </a: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="" xmlns:a16="http://schemas.microsoft.com/office/drawing/2014/main" id="{8CB65BC1-F5D0-E941-BBB8-79229262E575}"/>
                </a:ext>
              </a:extLst>
            </p:cNvPr>
            <p:cNvCxnSpPr>
              <a:cxnSpLocks/>
            </p:cNvCxnSpPr>
            <p:nvPr/>
          </p:nvCxnSpPr>
          <p:spPr>
            <a:xfrm>
              <a:off x="4659538" y="3269038"/>
              <a:ext cx="0" cy="996333"/>
            </a:xfrm>
            <a:prstGeom prst="line">
              <a:avLst/>
            </a:prstGeom>
            <a:ln w="28575">
              <a:solidFill>
                <a:srgbClr val="F25B4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Rounded Rectangle 12">
              <a:extLst>
                <a:ext uri="{FF2B5EF4-FFF2-40B4-BE49-F238E27FC236}">
                  <a16:creationId xmlns="" xmlns:a16="http://schemas.microsoft.com/office/drawing/2014/main" id="{14A1629D-10C0-A94E-97AD-6E0516B9F0EC}"/>
                </a:ext>
              </a:extLst>
            </p:cNvPr>
            <p:cNvSpPr/>
            <p:nvPr/>
          </p:nvSpPr>
          <p:spPr>
            <a:xfrm>
              <a:off x="4651225" y="2766047"/>
              <a:ext cx="1969916" cy="313390"/>
            </a:xfrm>
            <a:prstGeom prst="roundRect">
              <a:avLst>
                <a:gd name="adj" fmla="val 14572"/>
              </a:avLst>
            </a:prstGeom>
            <a:solidFill>
              <a:srgbClr val="A83E3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44317"/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="" xmlns:a16="http://schemas.microsoft.com/office/drawing/2014/main" id="{BE0F4A3A-517F-8646-9223-054C181E5A66}"/>
                </a:ext>
              </a:extLst>
            </p:cNvPr>
            <p:cNvSpPr/>
            <p:nvPr/>
          </p:nvSpPr>
          <p:spPr>
            <a:xfrm>
              <a:off x="4649890" y="2856289"/>
              <a:ext cx="1974527" cy="423792"/>
            </a:xfrm>
            <a:prstGeom prst="rect">
              <a:avLst/>
            </a:prstGeom>
            <a:solidFill>
              <a:srgbClr val="F25B48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2400" tIns="41148" rIns="97200" bIns="4114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400050"/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="" xmlns:a16="http://schemas.microsoft.com/office/drawing/2014/main" id="{44A48F43-EB39-AF4E-AF29-C7DEEF49A5B3}"/>
              </a:ext>
            </a:extLst>
          </p:cNvPr>
          <p:cNvGrpSpPr/>
          <p:nvPr/>
        </p:nvGrpSpPr>
        <p:grpSpPr>
          <a:xfrm>
            <a:off x="2345505" y="3094216"/>
            <a:ext cx="2199600" cy="1728000"/>
            <a:chOff x="2468622" y="2766047"/>
            <a:chExt cx="1976917" cy="1499324"/>
          </a:xfrm>
        </p:grpSpPr>
        <p:sp>
          <p:nvSpPr>
            <p:cNvPr id="18" name="Shape 106">
              <a:extLst>
                <a:ext uri="{FF2B5EF4-FFF2-40B4-BE49-F238E27FC236}">
                  <a16:creationId xmlns="" xmlns:a16="http://schemas.microsoft.com/office/drawing/2014/main" id="{91C31608-3265-FF47-9365-F910BA84EB78}"/>
                </a:ext>
              </a:extLst>
            </p:cNvPr>
            <p:cNvSpPr/>
            <p:nvPr/>
          </p:nvSpPr>
          <p:spPr>
            <a:xfrm>
              <a:off x="2485194" y="3269038"/>
              <a:ext cx="1952459" cy="9963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2400" tIns="41148" rIns="64800" bIns="4114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315" indent="-154305">
                <a:spcAft>
                  <a:spcPts val="270"/>
                </a:spcAft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5EB8"/>
                  </a:solidFill>
                </a:rPr>
                <a:t>National Data Opt-out service web page, currently in private beta, in the app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="" xmlns:a16="http://schemas.microsoft.com/office/drawing/2014/main" id="{A3204980-7621-2146-95A8-8E9991CFE57F}"/>
                </a:ext>
              </a:extLst>
            </p:cNvPr>
            <p:cNvCxnSpPr>
              <a:cxnSpLocks/>
            </p:cNvCxnSpPr>
            <p:nvPr/>
          </p:nvCxnSpPr>
          <p:spPr>
            <a:xfrm>
              <a:off x="2476051" y="3269038"/>
              <a:ext cx="0" cy="996333"/>
            </a:xfrm>
            <a:prstGeom prst="line">
              <a:avLst/>
            </a:prstGeom>
            <a:ln w="28575">
              <a:solidFill>
                <a:srgbClr val="00BBD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ounded Rectangle 19">
              <a:extLst>
                <a:ext uri="{FF2B5EF4-FFF2-40B4-BE49-F238E27FC236}">
                  <a16:creationId xmlns="" xmlns:a16="http://schemas.microsoft.com/office/drawing/2014/main" id="{58D16E08-F1AA-8A40-A49E-E89B207ABE46}"/>
                </a:ext>
              </a:extLst>
            </p:cNvPr>
            <p:cNvSpPr/>
            <p:nvPr/>
          </p:nvSpPr>
          <p:spPr>
            <a:xfrm>
              <a:off x="2468622" y="2766047"/>
              <a:ext cx="1975932" cy="313021"/>
            </a:xfrm>
            <a:prstGeom prst="roundRect">
              <a:avLst>
                <a:gd name="adj" fmla="val 14572"/>
              </a:avLst>
            </a:prstGeom>
            <a:solidFill>
              <a:srgbClr val="0892A8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44317"/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ED2D9057-DCA9-D147-BC71-1B070102EBD1}"/>
                </a:ext>
              </a:extLst>
            </p:cNvPr>
            <p:cNvSpPr/>
            <p:nvPr/>
          </p:nvSpPr>
          <p:spPr>
            <a:xfrm>
              <a:off x="2468622" y="2856183"/>
              <a:ext cx="1976917" cy="423293"/>
            </a:xfrm>
            <a:prstGeom prst="rect">
              <a:avLst/>
            </a:prstGeom>
            <a:solidFill>
              <a:srgbClr val="00BBD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97200" rtlCol="0" anchor="ctr"/>
            <a:lstStyle/>
            <a:p>
              <a:pPr marL="400050"/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="" xmlns:a16="http://schemas.microsoft.com/office/drawing/2014/main" id="{80906C68-C97F-9448-80FD-1AF2371C6D1A}"/>
              </a:ext>
            </a:extLst>
          </p:cNvPr>
          <p:cNvGrpSpPr/>
          <p:nvPr/>
        </p:nvGrpSpPr>
        <p:grpSpPr>
          <a:xfrm>
            <a:off x="6810001" y="3094216"/>
            <a:ext cx="2199600" cy="1728000"/>
            <a:chOff x="6829823" y="2766047"/>
            <a:chExt cx="1976346" cy="1499324"/>
          </a:xfrm>
        </p:grpSpPr>
        <p:sp>
          <p:nvSpPr>
            <p:cNvPr id="25" name="Shape 106">
              <a:extLst>
                <a:ext uri="{FF2B5EF4-FFF2-40B4-BE49-F238E27FC236}">
                  <a16:creationId xmlns="" xmlns:a16="http://schemas.microsoft.com/office/drawing/2014/main" id="{2A04089A-3A9D-B94F-B431-C1EC5A26A15B}"/>
                </a:ext>
              </a:extLst>
            </p:cNvPr>
            <p:cNvSpPr/>
            <p:nvPr/>
          </p:nvSpPr>
          <p:spPr>
            <a:xfrm>
              <a:off x="6847767" y="3269038"/>
              <a:ext cx="1952459" cy="9963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2400" tIns="41148" rIns="64800" bIns="4114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315" indent="-154305">
                <a:spcAft>
                  <a:spcPts val="270"/>
                </a:spcAft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5EB8"/>
                  </a:solidFill>
                </a:rPr>
                <a:t>Set wishes for place of care, death, religion</a:t>
              </a:r>
            </a:p>
            <a:p>
              <a:pPr marL="234315" indent="-154305">
                <a:spcAft>
                  <a:spcPts val="270"/>
                </a:spcAft>
                <a:buFont typeface="Arial" panose="020B0604020202020204" pitchFamily="34" charset="0"/>
                <a:buChar char="•"/>
              </a:pPr>
              <a:r>
                <a:rPr lang="en-GB" sz="1400" dirty="0">
                  <a:solidFill>
                    <a:srgbClr val="005EB8"/>
                  </a:solidFill>
                </a:rPr>
                <a:t>Details sent to GP </a:t>
              </a:r>
              <a:r>
                <a:rPr lang="en-US" sz="1400" dirty="0">
                  <a:solidFill>
                    <a:srgbClr val="005EB8"/>
                  </a:solidFill>
                </a:rPr>
                <a:t>practice</a:t>
              </a: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="" xmlns:a16="http://schemas.microsoft.com/office/drawing/2014/main" id="{BAC65943-AFE9-ED4D-B25F-DB3F3DF41F1C}"/>
                </a:ext>
              </a:extLst>
            </p:cNvPr>
            <p:cNvCxnSpPr>
              <a:cxnSpLocks/>
            </p:cNvCxnSpPr>
            <p:nvPr/>
          </p:nvCxnSpPr>
          <p:spPr>
            <a:xfrm>
              <a:off x="6838624" y="3269038"/>
              <a:ext cx="0" cy="996333"/>
            </a:xfrm>
            <a:prstGeom prst="line">
              <a:avLst/>
            </a:prstGeom>
            <a:ln w="28575">
              <a:solidFill>
                <a:srgbClr val="FBA51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Rounded Rectangle 26">
              <a:extLst>
                <a:ext uri="{FF2B5EF4-FFF2-40B4-BE49-F238E27FC236}">
                  <a16:creationId xmlns="" xmlns:a16="http://schemas.microsoft.com/office/drawing/2014/main" id="{93D7FECC-FF9A-8F4C-9271-01F4284C93E5}"/>
                </a:ext>
              </a:extLst>
            </p:cNvPr>
            <p:cNvSpPr/>
            <p:nvPr/>
          </p:nvSpPr>
          <p:spPr>
            <a:xfrm>
              <a:off x="6829823" y="2766047"/>
              <a:ext cx="1974527" cy="312696"/>
            </a:xfrm>
            <a:prstGeom prst="roundRect">
              <a:avLst>
                <a:gd name="adj" fmla="val 14572"/>
              </a:avLst>
            </a:prstGeom>
            <a:solidFill>
              <a:srgbClr val="C28014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44317"/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="" xmlns:a16="http://schemas.microsoft.com/office/drawing/2014/main" id="{E8FD0293-5332-594A-98B4-BB754809451E}"/>
                </a:ext>
              </a:extLst>
            </p:cNvPr>
            <p:cNvSpPr/>
            <p:nvPr/>
          </p:nvSpPr>
          <p:spPr>
            <a:xfrm>
              <a:off x="6831642" y="2856089"/>
              <a:ext cx="1974527" cy="422853"/>
            </a:xfrm>
            <a:prstGeom prst="rect">
              <a:avLst/>
            </a:prstGeom>
            <a:solidFill>
              <a:srgbClr val="FBA519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2400" tIns="41148" rIns="97200" bIns="4114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67189"/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="" xmlns:a16="http://schemas.microsoft.com/office/drawing/2014/main" id="{EA666875-E1AA-4347-8C28-2649F85D3E73}"/>
              </a:ext>
            </a:extLst>
          </p:cNvPr>
          <p:cNvGrpSpPr/>
          <p:nvPr/>
        </p:nvGrpSpPr>
        <p:grpSpPr>
          <a:xfrm>
            <a:off x="113257" y="3094216"/>
            <a:ext cx="2198544" cy="1728000"/>
            <a:chOff x="344886" y="2766047"/>
            <a:chExt cx="1975973" cy="1499324"/>
          </a:xfrm>
        </p:grpSpPr>
        <p:sp>
          <p:nvSpPr>
            <p:cNvPr id="32" name="Shape 106">
              <a:extLst>
                <a:ext uri="{FF2B5EF4-FFF2-40B4-BE49-F238E27FC236}">
                  <a16:creationId xmlns="" xmlns:a16="http://schemas.microsoft.com/office/drawing/2014/main" id="{F4D37905-EC27-4F45-AF17-50145619CC97}"/>
                </a:ext>
              </a:extLst>
            </p:cNvPr>
            <p:cNvSpPr/>
            <p:nvPr/>
          </p:nvSpPr>
          <p:spPr>
            <a:xfrm>
              <a:off x="360972" y="3269038"/>
              <a:ext cx="1952459" cy="9963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2400" tIns="41148" rIns="64800" bIns="4114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315" indent="-154305">
                <a:spcAft>
                  <a:spcPts val="270"/>
                </a:spcAft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5EB8"/>
                  </a:solidFill>
                </a:rPr>
                <a:t>View medications and order prescriptions</a:t>
              </a:r>
            </a:p>
            <a:p>
              <a:pPr marL="234315" indent="-154305">
                <a:spcAft>
                  <a:spcPts val="270"/>
                </a:spcAft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5EB8"/>
                  </a:solidFill>
                </a:rPr>
                <a:t>Integration with four GP systems</a:t>
              </a: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="" xmlns:a16="http://schemas.microsoft.com/office/drawing/2014/main" id="{3627A97E-1E20-6D4D-B989-10130DA1DE6E}"/>
                </a:ext>
              </a:extLst>
            </p:cNvPr>
            <p:cNvCxnSpPr>
              <a:cxnSpLocks/>
            </p:cNvCxnSpPr>
            <p:nvPr/>
          </p:nvCxnSpPr>
          <p:spPr>
            <a:xfrm>
              <a:off x="360973" y="3269038"/>
              <a:ext cx="0" cy="996333"/>
            </a:xfrm>
            <a:prstGeom prst="line">
              <a:avLst/>
            </a:prstGeom>
            <a:ln w="28575">
              <a:solidFill>
                <a:srgbClr val="00ADE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ounded Rectangle 33">
              <a:extLst>
                <a:ext uri="{FF2B5EF4-FFF2-40B4-BE49-F238E27FC236}">
                  <a16:creationId xmlns="" xmlns:a16="http://schemas.microsoft.com/office/drawing/2014/main" id="{9AECA6F6-FEFD-D44A-B812-880D0BE9382A}"/>
                </a:ext>
              </a:extLst>
            </p:cNvPr>
            <p:cNvSpPr/>
            <p:nvPr/>
          </p:nvSpPr>
          <p:spPr>
            <a:xfrm>
              <a:off x="344886" y="2766047"/>
              <a:ext cx="1974527" cy="314387"/>
            </a:xfrm>
            <a:prstGeom prst="roundRect">
              <a:avLst>
                <a:gd name="adj" fmla="val 14572"/>
              </a:avLst>
            </a:prstGeom>
            <a:solidFill>
              <a:srgbClr val="0393CB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44317"/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="" xmlns:a16="http://schemas.microsoft.com/office/drawing/2014/main" id="{0E720578-6C8C-A840-99B8-64F9069515C4}"/>
                </a:ext>
              </a:extLst>
            </p:cNvPr>
            <p:cNvSpPr/>
            <p:nvPr/>
          </p:nvSpPr>
          <p:spPr>
            <a:xfrm>
              <a:off x="346332" y="2856576"/>
              <a:ext cx="1974527" cy="425139"/>
            </a:xfrm>
            <a:prstGeom prst="rect">
              <a:avLst/>
            </a:prstGeom>
            <a:solidFill>
              <a:srgbClr val="00ADEF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2400" tIns="41148" rIns="97200" bIns="4114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400050"/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="" xmlns:a16="http://schemas.microsoft.com/office/drawing/2014/main" id="{6A63DE15-A41F-5442-8643-DF5746898395}"/>
              </a:ext>
            </a:extLst>
          </p:cNvPr>
          <p:cNvGrpSpPr/>
          <p:nvPr/>
        </p:nvGrpSpPr>
        <p:grpSpPr>
          <a:xfrm>
            <a:off x="2345505" y="1294016"/>
            <a:ext cx="2199600" cy="1728000"/>
            <a:chOff x="2472136" y="1104555"/>
            <a:chExt cx="1975871" cy="1485358"/>
          </a:xfrm>
        </p:grpSpPr>
        <p:sp>
          <p:nvSpPr>
            <p:cNvPr id="39" name="Shape 106">
              <a:extLst>
                <a:ext uri="{FF2B5EF4-FFF2-40B4-BE49-F238E27FC236}">
                  <a16:creationId xmlns="" xmlns:a16="http://schemas.microsoft.com/office/drawing/2014/main" id="{68CC3CAD-0B1D-044A-8430-0BFA1F622BA0}"/>
                </a:ext>
              </a:extLst>
            </p:cNvPr>
            <p:cNvSpPr/>
            <p:nvPr/>
          </p:nvSpPr>
          <p:spPr>
            <a:xfrm>
              <a:off x="2485194" y="1593580"/>
              <a:ext cx="1952459" cy="9963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2400" tIns="41148" rIns="64800" bIns="4114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315" indent="-154305">
                <a:spcAft>
                  <a:spcPts val="270"/>
                </a:spcAft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accent1"/>
                  </a:solidFill>
                </a:rPr>
                <a:t>111 Online webpage</a:t>
              </a:r>
            </a:p>
            <a:p>
              <a:pPr marL="234315" indent="-154305">
                <a:spcAft>
                  <a:spcPts val="270"/>
                </a:spcAft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chemeClr val="accent1"/>
                  </a:solidFill>
                </a:rPr>
                <a:t>NHS.UK Health A-Z web page</a:t>
              </a:r>
              <a:endParaRPr sz="1400" dirty="0">
                <a:solidFill>
                  <a:schemeClr val="accent1"/>
                </a:solidFill>
              </a:endParaRPr>
            </a:p>
          </p:txBody>
        </p:sp>
        <p:cxnSp>
          <p:nvCxnSpPr>
            <p:cNvPr id="40" name="Straight Connector 39">
              <a:extLst>
                <a:ext uri="{FF2B5EF4-FFF2-40B4-BE49-F238E27FC236}">
                  <a16:creationId xmlns="" xmlns:a16="http://schemas.microsoft.com/office/drawing/2014/main" id="{AF0BD825-0587-7C44-B9BA-99C25A70BDAE}"/>
                </a:ext>
              </a:extLst>
            </p:cNvPr>
            <p:cNvCxnSpPr>
              <a:cxnSpLocks/>
            </p:cNvCxnSpPr>
            <p:nvPr/>
          </p:nvCxnSpPr>
          <p:spPr>
            <a:xfrm>
              <a:off x="2485195" y="1593580"/>
              <a:ext cx="0" cy="996333"/>
            </a:xfrm>
            <a:prstGeom prst="line">
              <a:avLst/>
            </a:prstGeom>
            <a:ln w="28575">
              <a:solidFill>
                <a:srgbClr val="A6CE3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Rounded Rectangle 40">
              <a:extLst>
                <a:ext uri="{FF2B5EF4-FFF2-40B4-BE49-F238E27FC236}">
                  <a16:creationId xmlns="" xmlns:a16="http://schemas.microsoft.com/office/drawing/2014/main" id="{2C8E9645-EE63-504C-B6BF-B2F317EE37D8}"/>
                </a:ext>
              </a:extLst>
            </p:cNvPr>
            <p:cNvSpPr/>
            <p:nvPr/>
          </p:nvSpPr>
          <p:spPr>
            <a:xfrm>
              <a:off x="2473950" y="1104555"/>
              <a:ext cx="1971223" cy="314690"/>
            </a:xfrm>
            <a:prstGeom prst="roundRect">
              <a:avLst>
                <a:gd name="adj" fmla="val 14572"/>
              </a:avLst>
            </a:prstGeom>
            <a:solidFill>
              <a:srgbClr val="95B72F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44317"/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="" xmlns:a16="http://schemas.microsoft.com/office/drawing/2014/main" id="{B1254EB6-BC63-484F-B904-B6176C6FE231}"/>
                </a:ext>
              </a:extLst>
            </p:cNvPr>
            <p:cNvSpPr/>
            <p:nvPr/>
          </p:nvSpPr>
          <p:spPr>
            <a:xfrm>
              <a:off x="2472136" y="1195021"/>
              <a:ext cx="1975871" cy="425656"/>
            </a:xfrm>
            <a:prstGeom prst="rect">
              <a:avLst/>
            </a:prstGeom>
            <a:solidFill>
              <a:srgbClr val="A6CE3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/>
            <a:lstStyle/>
            <a:p>
              <a:pPr marL="400050"/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="" xmlns:a16="http://schemas.microsoft.com/office/drawing/2014/main" id="{0AF2F564-1781-9E42-A4F1-0168DC420FFB}"/>
              </a:ext>
            </a:extLst>
          </p:cNvPr>
          <p:cNvGrpSpPr/>
          <p:nvPr/>
        </p:nvGrpSpPr>
        <p:grpSpPr>
          <a:xfrm>
            <a:off x="6810001" y="1293824"/>
            <a:ext cx="2199600" cy="1728000"/>
            <a:chOff x="6838916" y="1104555"/>
            <a:chExt cx="1983379" cy="1485358"/>
          </a:xfrm>
        </p:grpSpPr>
        <p:sp>
          <p:nvSpPr>
            <p:cNvPr id="46" name="Shape 106">
              <a:extLst>
                <a:ext uri="{FF2B5EF4-FFF2-40B4-BE49-F238E27FC236}">
                  <a16:creationId xmlns="" xmlns:a16="http://schemas.microsoft.com/office/drawing/2014/main" id="{129815AC-6C8F-B746-82A1-686307315FEB}"/>
                </a:ext>
              </a:extLst>
            </p:cNvPr>
            <p:cNvSpPr/>
            <p:nvPr/>
          </p:nvSpPr>
          <p:spPr>
            <a:xfrm>
              <a:off x="6847767" y="1593580"/>
              <a:ext cx="1974528" cy="9963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2400" tIns="41148" rIns="64800" bIns="4114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315" indent="-154305">
                <a:spcAft>
                  <a:spcPts val="270"/>
                </a:spcAft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5EB8"/>
                  </a:solidFill>
                </a:rPr>
                <a:t>Find, book, view and cancel appointments,</a:t>
              </a:r>
            </a:p>
            <a:p>
              <a:pPr marL="234315" indent="-154305">
                <a:spcAft>
                  <a:spcPts val="270"/>
                </a:spcAft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5EB8"/>
                  </a:solidFill>
                </a:rPr>
                <a:t>Integration with four </a:t>
              </a:r>
              <a:r>
                <a:rPr lang="en-US" sz="1400" dirty="0" smtClean="0">
                  <a:solidFill>
                    <a:srgbClr val="005EB8"/>
                  </a:solidFill>
                </a:rPr>
                <a:t>GP </a:t>
              </a:r>
              <a:r>
                <a:rPr lang="en-US" sz="1400" dirty="0">
                  <a:solidFill>
                    <a:srgbClr val="005EB8"/>
                  </a:solidFill>
                </a:rPr>
                <a:t>systems</a:t>
              </a:r>
            </a:p>
          </p:txBody>
        </p:sp>
        <p:cxnSp>
          <p:nvCxnSpPr>
            <p:cNvPr id="47" name="Straight Connector 46">
              <a:extLst>
                <a:ext uri="{FF2B5EF4-FFF2-40B4-BE49-F238E27FC236}">
                  <a16:creationId xmlns="" xmlns:a16="http://schemas.microsoft.com/office/drawing/2014/main" id="{27133CF8-4CF3-F848-9622-D004C9DACDDD}"/>
                </a:ext>
              </a:extLst>
            </p:cNvPr>
            <p:cNvCxnSpPr>
              <a:cxnSpLocks/>
            </p:cNvCxnSpPr>
            <p:nvPr/>
          </p:nvCxnSpPr>
          <p:spPr>
            <a:xfrm>
              <a:off x="6847768" y="1593580"/>
              <a:ext cx="0" cy="996333"/>
            </a:xfrm>
            <a:prstGeom prst="line">
              <a:avLst/>
            </a:prstGeom>
            <a:ln w="28575">
              <a:solidFill>
                <a:srgbClr val="FFD4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Rounded Rectangle 47">
              <a:extLst>
                <a:ext uri="{FF2B5EF4-FFF2-40B4-BE49-F238E27FC236}">
                  <a16:creationId xmlns="" xmlns:a16="http://schemas.microsoft.com/office/drawing/2014/main" id="{52B85116-CD56-7C4E-9EF8-0625A2D28C0D}"/>
                </a:ext>
              </a:extLst>
            </p:cNvPr>
            <p:cNvSpPr/>
            <p:nvPr/>
          </p:nvSpPr>
          <p:spPr>
            <a:xfrm>
              <a:off x="6841404" y="1104555"/>
              <a:ext cx="1979066" cy="313031"/>
            </a:xfrm>
            <a:prstGeom prst="roundRect">
              <a:avLst>
                <a:gd name="adj" fmla="val 14572"/>
              </a:avLst>
            </a:prstGeom>
            <a:solidFill>
              <a:srgbClr val="E4BD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44317"/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="" xmlns:a16="http://schemas.microsoft.com/office/drawing/2014/main" id="{F70575A6-FD7B-E74D-897F-37AA8F7CDA11}"/>
                </a:ext>
              </a:extLst>
            </p:cNvPr>
            <p:cNvSpPr/>
            <p:nvPr/>
          </p:nvSpPr>
          <p:spPr>
            <a:xfrm>
              <a:off x="6838916" y="1194545"/>
              <a:ext cx="1981554" cy="423412"/>
            </a:xfrm>
            <a:prstGeom prst="rect">
              <a:avLst/>
            </a:prstGeom>
            <a:solidFill>
              <a:srgbClr val="FFD4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1148" rIns="97200" bIns="4114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400050"/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="" xmlns:a16="http://schemas.microsoft.com/office/drawing/2014/main" id="{F17591BC-72A6-AB44-BFD2-75AA970CCA46}"/>
              </a:ext>
            </a:extLst>
          </p:cNvPr>
          <p:cNvGrpSpPr/>
          <p:nvPr/>
        </p:nvGrpSpPr>
        <p:grpSpPr>
          <a:xfrm>
            <a:off x="4577753" y="1294017"/>
            <a:ext cx="2199600" cy="1727999"/>
            <a:chOff x="4656432" y="1104555"/>
            <a:chExt cx="1974792" cy="1485358"/>
          </a:xfrm>
        </p:grpSpPr>
        <p:sp>
          <p:nvSpPr>
            <p:cNvPr id="53" name="Shape 106">
              <a:extLst>
                <a:ext uri="{FF2B5EF4-FFF2-40B4-BE49-F238E27FC236}">
                  <a16:creationId xmlns="" xmlns:a16="http://schemas.microsoft.com/office/drawing/2014/main" id="{A7C4E500-D837-2940-84B0-F191C6DB238F}"/>
                </a:ext>
              </a:extLst>
            </p:cNvPr>
            <p:cNvSpPr/>
            <p:nvPr/>
          </p:nvSpPr>
          <p:spPr>
            <a:xfrm>
              <a:off x="4668681" y="1593580"/>
              <a:ext cx="1952459" cy="9963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2400" tIns="41148" rIns="64800" bIns="4114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315" indent="-154305">
                <a:spcAft>
                  <a:spcPts val="270"/>
                </a:spcAft>
                <a:buFont typeface="Arial" panose="020B0604020202020204" pitchFamily="34" charset="0"/>
                <a:buChar char="•"/>
              </a:pPr>
              <a:r>
                <a:rPr lang="en-US" sz="1400" dirty="0">
                  <a:solidFill>
                    <a:srgbClr val="005EB8"/>
                  </a:solidFill>
                </a:rPr>
                <a:t>Integration with four GP systems</a:t>
              </a:r>
            </a:p>
            <a:p>
              <a:pPr marL="234315" indent="-154305">
                <a:spcAft>
                  <a:spcPts val="270"/>
                </a:spcAft>
                <a:buFont typeface="Arial" panose="020B0604020202020204" pitchFamily="34" charset="0"/>
                <a:buChar char="•"/>
              </a:pPr>
              <a:r>
                <a:rPr lang="en-GB" sz="1400" dirty="0">
                  <a:solidFill>
                    <a:srgbClr val="005EB8"/>
                  </a:solidFill>
                </a:rPr>
                <a:t>Patient can view GP record</a:t>
              </a:r>
              <a:endParaRPr sz="1400" dirty="0">
                <a:solidFill>
                  <a:srgbClr val="005EB8"/>
                </a:solidFill>
              </a:endParaRPr>
            </a:p>
          </p:txBody>
        </p:sp>
        <p:cxnSp>
          <p:nvCxnSpPr>
            <p:cNvPr id="54" name="Straight Connector 53">
              <a:extLst>
                <a:ext uri="{FF2B5EF4-FFF2-40B4-BE49-F238E27FC236}">
                  <a16:creationId xmlns="" xmlns:a16="http://schemas.microsoft.com/office/drawing/2014/main" id="{413F180F-E07B-0941-B7EE-4B6FC16F80E8}"/>
                </a:ext>
              </a:extLst>
            </p:cNvPr>
            <p:cNvCxnSpPr>
              <a:cxnSpLocks/>
            </p:cNvCxnSpPr>
            <p:nvPr/>
          </p:nvCxnSpPr>
          <p:spPr>
            <a:xfrm>
              <a:off x="4659538" y="1593580"/>
              <a:ext cx="0" cy="996333"/>
            </a:xfrm>
            <a:prstGeom prst="line">
              <a:avLst/>
            </a:prstGeom>
            <a:ln w="28575">
              <a:solidFill>
                <a:srgbClr val="9127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Rounded Rectangle 54">
              <a:extLst>
                <a:ext uri="{FF2B5EF4-FFF2-40B4-BE49-F238E27FC236}">
                  <a16:creationId xmlns="" xmlns:a16="http://schemas.microsoft.com/office/drawing/2014/main" id="{1FA7934C-32A4-D54A-99B2-0AA653BEC02B}"/>
                </a:ext>
              </a:extLst>
            </p:cNvPr>
            <p:cNvSpPr/>
            <p:nvPr/>
          </p:nvSpPr>
          <p:spPr>
            <a:xfrm>
              <a:off x="4656432" y="1104555"/>
              <a:ext cx="1974527" cy="313435"/>
            </a:xfrm>
            <a:prstGeom prst="roundRect">
              <a:avLst>
                <a:gd name="adj" fmla="val 14572"/>
              </a:avLst>
            </a:prstGeom>
            <a:solidFill>
              <a:srgbClr val="60196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44317"/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="" xmlns:a16="http://schemas.microsoft.com/office/drawing/2014/main" id="{9C7F642E-DE4B-7844-95EF-C5D48761FCD0}"/>
                </a:ext>
              </a:extLst>
            </p:cNvPr>
            <p:cNvSpPr/>
            <p:nvPr/>
          </p:nvSpPr>
          <p:spPr>
            <a:xfrm>
              <a:off x="4656697" y="1194811"/>
              <a:ext cx="1974527" cy="423852"/>
            </a:xfrm>
            <a:prstGeom prst="rect">
              <a:avLst/>
            </a:prstGeom>
            <a:solidFill>
              <a:srgbClr val="91279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2400" tIns="41148" rIns="97200" bIns="4114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400050"/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="" xmlns:a16="http://schemas.microsoft.com/office/drawing/2014/main" id="{49B53982-C6A8-254D-8D42-A64E61B4DD50}"/>
              </a:ext>
            </a:extLst>
          </p:cNvPr>
          <p:cNvGrpSpPr/>
          <p:nvPr/>
        </p:nvGrpSpPr>
        <p:grpSpPr>
          <a:xfrm>
            <a:off x="113257" y="1294016"/>
            <a:ext cx="2199600" cy="1728000"/>
            <a:chOff x="345549" y="1104555"/>
            <a:chExt cx="1963869" cy="1485358"/>
          </a:xfrm>
        </p:grpSpPr>
        <p:sp>
          <p:nvSpPr>
            <p:cNvPr id="60" name="Shape 106">
              <a:extLst>
                <a:ext uri="{FF2B5EF4-FFF2-40B4-BE49-F238E27FC236}">
                  <a16:creationId xmlns="" xmlns:a16="http://schemas.microsoft.com/office/drawing/2014/main" id="{98BE702C-7B4D-E947-AEA1-CC7167F047EE}"/>
                </a:ext>
              </a:extLst>
            </p:cNvPr>
            <p:cNvSpPr/>
            <p:nvPr/>
          </p:nvSpPr>
          <p:spPr>
            <a:xfrm>
              <a:off x="373165" y="1593580"/>
              <a:ext cx="1934991" cy="9963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2400" tIns="41148" rIns="64800" bIns="4114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315" indent="-154305">
                <a:spcAft>
                  <a:spcPts val="270"/>
                </a:spcAft>
                <a:buFont typeface="Arial" panose="020B0604020202020204" pitchFamily="34" charset="0"/>
                <a:buChar char="•"/>
                <a:tabLst>
                  <a:tab pos="1435894" algn="l"/>
                </a:tabLst>
              </a:pPr>
              <a:r>
                <a:rPr lang="en-GB" sz="1400" dirty="0">
                  <a:solidFill>
                    <a:srgbClr val="005EB8"/>
                  </a:solidFill>
                </a:rPr>
                <a:t>Integration of the service for all authentication</a:t>
              </a:r>
              <a:endParaRPr sz="1400" dirty="0">
                <a:solidFill>
                  <a:srgbClr val="005EB8"/>
                </a:solidFill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="" xmlns:a16="http://schemas.microsoft.com/office/drawing/2014/main" id="{E6AFE07E-0D3E-1B45-9D8F-A593CA6AB900}"/>
                </a:ext>
              </a:extLst>
            </p:cNvPr>
            <p:cNvCxnSpPr>
              <a:cxnSpLocks/>
            </p:cNvCxnSpPr>
            <p:nvPr/>
          </p:nvCxnSpPr>
          <p:spPr>
            <a:xfrm>
              <a:off x="354877" y="1593580"/>
              <a:ext cx="0" cy="996333"/>
            </a:xfrm>
            <a:prstGeom prst="line">
              <a:avLst/>
            </a:prstGeom>
            <a:ln w="28575">
              <a:solidFill>
                <a:srgbClr val="EF2B7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Rounded Rectangle 61">
              <a:extLst>
                <a:ext uri="{FF2B5EF4-FFF2-40B4-BE49-F238E27FC236}">
                  <a16:creationId xmlns="" xmlns:a16="http://schemas.microsoft.com/office/drawing/2014/main" id="{65A53025-3FFF-0749-9660-E1314974DC8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5549" y="1104555"/>
              <a:ext cx="1962607" cy="314118"/>
            </a:xfrm>
            <a:prstGeom prst="roundRect">
              <a:avLst>
                <a:gd name="adj" fmla="val 14572"/>
              </a:avLst>
            </a:prstGeom>
            <a:solidFill>
              <a:srgbClr val="8B1A4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44317"/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="" xmlns:a16="http://schemas.microsoft.com/office/drawing/2014/main" id="{14AB6710-D6AC-AC4E-85A5-9006A95EA4F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9229" y="1195008"/>
              <a:ext cx="1960189" cy="424776"/>
            </a:xfrm>
            <a:prstGeom prst="rect">
              <a:avLst/>
            </a:prstGeom>
            <a:solidFill>
              <a:srgbClr val="EF2B78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2400" tIns="41148" rIns="32400" bIns="4114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401479"/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71" name="Shape 306">
            <a:extLst>
              <a:ext uri="{FF2B5EF4-FFF2-40B4-BE49-F238E27FC236}">
                <a16:creationId xmlns="" xmlns:a16="http://schemas.microsoft.com/office/drawing/2014/main" id="{77574DD1-F750-439D-9E4A-6CC904C95081}"/>
              </a:ext>
            </a:extLst>
          </p:cNvPr>
          <p:cNvSpPr/>
          <p:nvPr/>
        </p:nvSpPr>
        <p:spPr>
          <a:xfrm>
            <a:off x="2457177" y="1365832"/>
            <a:ext cx="1976560" cy="5411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68562" tIns="68562" rIns="68562" bIns="68562" anchor="ctr" anchorCtr="1">
            <a:no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</a:rPr>
              <a:t>Symptom checking and triage</a:t>
            </a:r>
            <a:endParaRPr lang="en-GB" sz="1400" b="1" dirty="0">
              <a:solidFill>
                <a:srgbClr val="FFFF00"/>
              </a:solidFill>
            </a:endParaRPr>
          </a:p>
        </p:txBody>
      </p:sp>
      <p:sp>
        <p:nvSpPr>
          <p:cNvPr id="72" name="Shape 306">
            <a:extLst>
              <a:ext uri="{FF2B5EF4-FFF2-40B4-BE49-F238E27FC236}">
                <a16:creationId xmlns="" xmlns:a16="http://schemas.microsoft.com/office/drawing/2014/main" id="{6D2D2F7D-C0D1-4D99-8848-407374AEBE3C}"/>
              </a:ext>
            </a:extLst>
          </p:cNvPr>
          <p:cNvSpPr/>
          <p:nvPr/>
        </p:nvSpPr>
        <p:spPr>
          <a:xfrm>
            <a:off x="224929" y="1437840"/>
            <a:ext cx="1976560" cy="52318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68562" tIns="68562" rIns="68562" bIns="68562" anchor="ctr" anchorCtr="1">
            <a:spAutoFit/>
          </a:bodyPr>
          <a:lstStyle/>
          <a:p>
            <a:r>
              <a:rPr lang="en-GB" sz="1400" b="1" dirty="0">
                <a:solidFill>
                  <a:schemeClr val="bg1"/>
                </a:solidFill>
              </a:rPr>
              <a:t>Citizen ID</a:t>
            </a:r>
            <a:endParaRPr lang="en-GB" b="1" dirty="0"/>
          </a:p>
          <a:p>
            <a:pPr>
              <a:defRPr sz="1100">
                <a:solidFill>
                  <a:srgbClr val="FFFFFF"/>
                </a:solidFill>
              </a:defRPr>
            </a:pPr>
            <a:endParaRPr lang="en-GB" b="1" dirty="0"/>
          </a:p>
        </p:txBody>
      </p:sp>
      <p:sp>
        <p:nvSpPr>
          <p:cNvPr id="75" name="Shape 306">
            <a:extLst>
              <a:ext uri="{FF2B5EF4-FFF2-40B4-BE49-F238E27FC236}">
                <a16:creationId xmlns="" xmlns:a16="http://schemas.microsoft.com/office/drawing/2014/main" id="{76578E0E-A777-4F38-AEE7-CA59763FD74E}"/>
              </a:ext>
            </a:extLst>
          </p:cNvPr>
          <p:cNvSpPr/>
          <p:nvPr/>
        </p:nvSpPr>
        <p:spPr>
          <a:xfrm>
            <a:off x="4582740" y="1302715"/>
            <a:ext cx="1936164" cy="46974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68562" tIns="68562" rIns="68562" bIns="68562" anchor="ctr" anchorCtr="1">
            <a:noAutofit/>
          </a:bodyPr>
          <a:lstStyle/>
          <a:p>
            <a:endParaRPr lang="en-GB" b="1" dirty="0"/>
          </a:p>
        </p:txBody>
      </p:sp>
      <p:sp>
        <p:nvSpPr>
          <p:cNvPr id="76" name="Shape 306">
            <a:extLst>
              <a:ext uri="{FF2B5EF4-FFF2-40B4-BE49-F238E27FC236}">
                <a16:creationId xmlns="" xmlns:a16="http://schemas.microsoft.com/office/drawing/2014/main" id="{05A5FECD-8E19-41F5-AEE2-8E70CFF0B839}"/>
              </a:ext>
            </a:extLst>
          </p:cNvPr>
          <p:cNvSpPr/>
          <p:nvPr/>
        </p:nvSpPr>
        <p:spPr>
          <a:xfrm>
            <a:off x="4649761" y="1404914"/>
            <a:ext cx="1976560" cy="46497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68562" tIns="68562" rIns="68562" bIns="68562" anchor="ctr" anchorCtr="1">
            <a:noAutofit/>
          </a:bodyPr>
          <a:lstStyle/>
          <a:p>
            <a:r>
              <a:rPr lang="en-GB" sz="1400" b="1" dirty="0">
                <a:solidFill>
                  <a:schemeClr val="bg1"/>
                </a:solidFill>
              </a:rPr>
              <a:t>Patient record access</a:t>
            </a:r>
            <a:endParaRPr lang="en-GB" b="1" dirty="0"/>
          </a:p>
        </p:txBody>
      </p:sp>
      <p:sp>
        <p:nvSpPr>
          <p:cNvPr id="77" name="Shape 306">
            <a:extLst>
              <a:ext uri="{FF2B5EF4-FFF2-40B4-BE49-F238E27FC236}">
                <a16:creationId xmlns="" xmlns:a16="http://schemas.microsoft.com/office/drawing/2014/main" id="{71BEAFFC-386B-4F56-BB94-AE2ED1743359}"/>
              </a:ext>
            </a:extLst>
          </p:cNvPr>
          <p:cNvSpPr/>
          <p:nvPr/>
        </p:nvSpPr>
        <p:spPr>
          <a:xfrm>
            <a:off x="6921673" y="1404914"/>
            <a:ext cx="1976560" cy="46497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 anchorCtr="1">
            <a:no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</a:rPr>
              <a:t>GP appointment booking</a:t>
            </a:r>
            <a:endParaRPr lang="en-GB" b="1" dirty="0"/>
          </a:p>
        </p:txBody>
      </p:sp>
      <p:sp>
        <p:nvSpPr>
          <p:cNvPr id="79" name="Shape 306">
            <a:extLst>
              <a:ext uri="{FF2B5EF4-FFF2-40B4-BE49-F238E27FC236}">
                <a16:creationId xmlns="" xmlns:a16="http://schemas.microsoft.com/office/drawing/2014/main" id="{B4ECD78A-3A50-43A7-9973-4204280A2492}"/>
              </a:ext>
            </a:extLst>
          </p:cNvPr>
          <p:cNvSpPr/>
          <p:nvPr/>
        </p:nvSpPr>
        <p:spPr>
          <a:xfrm>
            <a:off x="219176" y="3091911"/>
            <a:ext cx="1976560" cy="5411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68562" tIns="68562" rIns="68562" bIns="68562" anchor="ctr" anchorCtr="1">
            <a:noAutofit/>
          </a:bodyPr>
          <a:lstStyle/>
          <a:p>
            <a:r>
              <a:rPr lang="en-GB" sz="1400" b="1" dirty="0">
                <a:solidFill>
                  <a:schemeClr val="bg1"/>
                </a:solidFill>
              </a:rPr>
              <a:t>Repeat prescriptions</a:t>
            </a:r>
            <a:endParaRPr lang="en-GB" sz="1400" b="1" dirty="0">
              <a:solidFill>
                <a:srgbClr val="FFFF00"/>
              </a:solidFill>
            </a:endParaRPr>
          </a:p>
        </p:txBody>
      </p:sp>
      <p:sp>
        <p:nvSpPr>
          <p:cNvPr id="80" name="Shape 306">
            <a:extLst>
              <a:ext uri="{FF2B5EF4-FFF2-40B4-BE49-F238E27FC236}">
                <a16:creationId xmlns="" xmlns:a16="http://schemas.microsoft.com/office/drawing/2014/main" id="{68BF686E-FEF3-4D58-8D10-752205542EF6}"/>
              </a:ext>
            </a:extLst>
          </p:cNvPr>
          <p:cNvSpPr/>
          <p:nvPr/>
        </p:nvSpPr>
        <p:spPr>
          <a:xfrm>
            <a:off x="2411760" y="3075806"/>
            <a:ext cx="1976560" cy="5411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68562" tIns="68562" rIns="68562" bIns="68562" anchor="ctr" anchorCtr="1">
            <a:noAutofit/>
          </a:bodyPr>
          <a:lstStyle/>
          <a:p>
            <a:r>
              <a:rPr lang="en-GB" sz="1400" b="1" dirty="0">
                <a:solidFill>
                  <a:schemeClr val="bg1"/>
                </a:solidFill>
              </a:rPr>
              <a:t>National data opt out </a:t>
            </a:r>
            <a:endParaRPr lang="en-GB" sz="1400" b="1" dirty="0">
              <a:solidFill>
                <a:srgbClr val="FFFF00"/>
              </a:solidFill>
            </a:endParaRPr>
          </a:p>
        </p:txBody>
      </p:sp>
      <p:sp>
        <p:nvSpPr>
          <p:cNvPr id="81" name="Shape 306">
            <a:extLst>
              <a:ext uri="{FF2B5EF4-FFF2-40B4-BE49-F238E27FC236}">
                <a16:creationId xmlns="" xmlns:a16="http://schemas.microsoft.com/office/drawing/2014/main" id="{39E2147E-F7FC-4D57-A645-8729FACB2F13}"/>
              </a:ext>
            </a:extLst>
          </p:cNvPr>
          <p:cNvSpPr/>
          <p:nvPr/>
        </p:nvSpPr>
        <p:spPr>
          <a:xfrm>
            <a:off x="4689425" y="3185682"/>
            <a:ext cx="1976560" cy="4844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68562" tIns="68562" rIns="68562" bIns="68562" anchor="ctr" anchorCtr="1">
            <a:no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</a:rPr>
              <a:t>Organ donation preferences</a:t>
            </a:r>
            <a:endParaRPr lang="en-GB" sz="1400" b="1" dirty="0">
              <a:solidFill>
                <a:srgbClr val="FFFF00"/>
              </a:solidFill>
            </a:endParaRPr>
          </a:p>
        </p:txBody>
      </p:sp>
      <p:sp>
        <p:nvSpPr>
          <p:cNvPr id="82" name="Shape 306">
            <a:extLst>
              <a:ext uri="{FF2B5EF4-FFF2-40B4-BE49-F238E27FC236}">
                <a16:creationId xmlns="" xmlns:a16="http://schemas.microsoft.com/office/drawing/2014/main" id="{0F53811C-BF25-450D-A534-B9B57DEEF26C}"/>
              </a:ext>
            </a:extLst>
          </p:cNvPr>
          <p:cNvSpPr/>
          <p:nvPr/>
        </p:nvSpPr>
        <p:spPr>
          <a:xfrm>
            <a:off x="6961911" y="3112720"/>
            <a:ext cx="1976560" cy="5411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68562" tIns="68562" rIns="68562" bIns="68562" anchor="ctr" anchorCtr="1">
            <a:noAutofit/>
          </a:bodyPr>
          <a:lstStyle/>
          <a:p>
            <a:r>
              <a:rPr lang="en-GB" sz="1400" b="1" dirty="0">
                <a:solidFill>
                  <a:schemeClr val="bg1"/>
                </a:solidFill>
              </a:rPr>
              <a:t>End of life care</a:t>
            </a:r>
          </a:p>
        </p:txBody>
      </p:sp>
    </p:spTree>
    <p:extLst>
      <p:ext uri="{BB962C8B-B14F-4D97-AF65-F5344CB8AC3E}">
        <p14:creationId xmlns:p14="http://schemas.microsoft.com/office/powerpoint/2010/main" val="2975817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B4D68ED7-29C7-9548-AC1F-19B06492D8D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9449" y="1925552"/>
            <a:ext cx="1091383" cy="2186623"/>
          </a:xfrm>
          <a:prstGeom prst="rect">
            <a:avLst/>
          </a:prstGeom>
        </p:spPr>
      </p:pic>
      <p:sp>
        <p:nvSpPr>
          <p:cNvPr id="87" name="Shape 87"/>
          <p:cNvSpPr txBox="1">
            <a:spLocks noGrp="1"/>
          </p:cNvSpPr>
          <p:nvPr>
            <p:ph type="sldNum" idx="12"/>
          </p:nvPr>
        </p:nvSpPr>
        <p:spPr>
          <a:xfrm>
            <a:off x="6386496" y="4731989"/>
            <a:ext cx="2133600" cy="273780"/>
          </a:xfrm>
          <a:prstGeom prst="rect">
            <a:avLst/>
          </a:prstGeom>
        </p:spPr>
        <p:txBody>
          <a:bodyPr spcFirstLastPara="1" vert="horz" wrap="square" lIns="74055" tIns="37017" rIns="74055" bIns="37017" rtlCol="0" anchor="ctr" anchorCtr="0">
            <a:noAutofit/>
          </a:bodyPr>
          <a:lstStyle/>
          <a:p>
            <a:fld id="{00000000-1234-1234-1234-123412341234}" type="slidenum">
              <a:rPr lang="en-US"/>
              <a:pPr/>
              <a:t>24</a:t>
            </a:fld>
            <a:endParaRPr dirty="0"/>
          </a:p>
        </p:txBody>
      </p:sp>
      <p:sp>
        <p:nvSpPr>
          <p:cNvPr id="86" name="Shape 86"/>
          <p:cNvSpPr txBox="1">
            <a:spLocks noGrp="1"/>
          </p:cNvSpPr>
          <p:nvPr>
            <p:ph type="body" idx="1"/>
          </p:nvPr>
        </p:nvSpPr>
        <p:spPr>
          <a:xfrm>
            <a:off x="556689" y="1419622"/>
            <a:ext cx="3871295" cy="3238209"/>
          </a:xfrm>
          <a:prstGeom prst="rect">
            <a:avLst/>
          </a:prstGeom>
        </p:spPr>
        <p:txBody>
          <a:bodyPr spcFirstLastPara="1" vert="horz" wrap="square" lIns="74055" tIns="74055" rIns="74055" bIns="74055" rtlCol="0" anchor="t" anchorCtr="0">
            <a:noAutofit/>
          </a:bodyPr>
          <a:lstStyle/>
          <a:p>
            <a:pPr marL="0" indent="0" fontAlgn="ctr">
              <a:buSzPct val="100000"/>
              <a:buNone/>
            </a:pPr>
            <a:r>
              <a:rPr lang="en-GB" sz="1700" dirty="0">
                <a:solidFill>
                  <a:srgbClr val="005EB8"/>
                </a:solidFill>
              </a:rPr>
              <a:t>NHS App will act as a platform for other web-based services: </a:t>
            </a:r>
          </a:p>
          <a:p>
            <a:pPr marL="0" indent="0" fontAlgn="ctr">
              <a:buSzPct val="100000"/>
              <a:buNone/>
            </a:pPr>
            <a:endParaRPr lang="en-GB" sz="1700" dirty="0">
              <a:solidFill>
                <a:srgbClr val="005EB8"/>
              </a:solidFill>
            </a:endParaRPr>
          </a:p>
          <a:p>
            <a:pPr marL="285750" indent="-285750" fontAlgn="ctr">
              <a:buClr>
                <a:srgbClr val="005EB8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700" dirty="0">
                <a:solidFill>
                  <a:srgbClr val="005EB8"/>
                </a:solidFill>
              </a:rPr>
              <a:t>Creating a single point of access for mobile NHS services commissioned locally and regionally</a:t>
            </a:r>
          </a:p>
          <a:p>
            <a:pPr marL="285750" indent="-285750" fontAlgn="ctr">
              <a:buClr>
                <a:srgbClr val="005EB8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700" dirty="0">
                <a:solidFill>
                  <a:srgbClr val="005EB8"/>
                </a:solidFill>
              </a:rPr>
              <a:t>Stimulating the open market enabling organisations to surface apps</a:t>
            </a:r>
          </a:p>
        </p:txBody>
      </p:sp>
      <p:sp>
        <p:nvSpPr>
          <p:cNvPr id="85" name="Shape 85"/>
          <p:cNvSpPr txBox="1">
            <a:spLocks noGrp="1"/>
          </p:cNvSpPr>
          <p:nvPr>
            <p:ph type="title"/>
          </p:nvPr>
        </p:nvSpPr>
        <p:spPr>
          <a:xfrm>
            <a:off x="583669" y="58534"/>
            <a:ext cx="7010023" cy="842400"/>
          </a:xfrm>
          <a:prstGeom prst="rect">
            <a:avLst/>
          </a:prstGeom>
        </p:spPr>
        <p:txBody>
          <a:bodyPr spcFirstLastPara="1" vert="horz" wrap="square" lIns="74055" tIns="74055" rIns="74055" bIns="74055" rtlCol="0" anchor="ctr" anchorCtr="0">
            <a:noAutofit/>
          </a:bodyPr>
          <a:lstStyle/>
          <a:p>
            <a:r>
              <a:rPr lang="en-GB" dirty="0">
                <a:latin typeface="Arial"/>
                <a:ea typeface="Arial"/>
                <a:cs typeface="Arial"/>
                <a:sym typeface="Arial"/>
              </a:rPr>
              <a:t>Integrating services into the NHS App</a:t>
            </a:r>
            <a:endParaRPr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E263A46C-8006-1D47-AA16-568643F70AE6}"/>
              </a:ext>
            </a:extLst>
          </p:cNvPr>
          <p:cNvSpPr/>
          <p:nvPr/>
        </p:nvSpPr>
        <p:spPr>
          <a:xfrm>
            <a:off x="4788339" y="2452918"/>
            <a:ext cx="438675" cy="4614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" rIns="32400" rtlCol="0" anchor="b"/>
          <a:lstStyle/>
          <a:p>
            <a:pPr algn="ctr"/>
            <a:r>
              <a:rPr lang="en-GB" sz="450" b="1" dirty="0"/>
              <a:t>Appointments</a:t>
            </a:r>
            <a:endParaRPr lang="en-US" sz="450" b="1" dirty="0"/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0BDA086D-82F3-6346-8516-B4523E5676CA}"/>
              </a:ext>
            </a:extLst>
          </p:cNvPr>
          <p:cNvSpPr/>
          <p:nvPr/>
        </p:nvSpPr>
        <p:spPr>
          <a:xfrm>
            <a:off x="5308257" y="2452918"/>
            <a:ext cx="438676" cy="4614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" rIns="32400" rtlCol="0" anchor="b"/>
          <a:lstStyle/>
          <a:p>
            <a:pPr algn="ctr"/>
            <a:r>
              <a:rPr lang="en-GB" sz="450" b="1" dirty="0"/>
              <a:t>Prescriptions</a:t>
            </a:r>
            <a:endParaRPr lang="en-US" sz="450" b="1" dirty="0"/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9987A270-5E16-924B-8BC1-9CF46A852BF8}"/>
              </a:ext>
            </a:extLst>
          </p:cNvPr>
          <p:cNvSpPr/>
          <p:nvPr/>
        </p:nvSpPr>
        <p:spPr>
          <a:xfrm>
            <a:off x="5803627" y="2452918"/>
            <a:ext cx="77797" cy="4614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" rIns="32400" rtlCol="0" anchor="b"/>
          <a:lstStyle/>
          <a:p>
            <a:pPr algn="ctr"/>
            <a:endParaRPr lang="en-US" sz="450" dirty="0"/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082BCF51-BD5C-8D4E-B156-72E9EEA68F85}"/>
              </a:ext>
            </a:extLst>
          </p:cNvPr>
          <p:cNvSpPr/>
          <p:nvPr/>
        </p:nvSpPr>
        <p:spPr>
          <a:xfrm>
            <a:off x="4750328" y="2335511"/>
            <a:ext cx="1131096" cy="60019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dirty="0"/>
          </a:p>
        </p:txBody>
      </p: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EB30CA44-C1E1-DD41-85D8-7CCDC34494AB}"/>
              </a:ext>
            </a:extLst>
          </p:cNvPr>
          <p:cNvSpPr txBox="1"/>
          <p:nvPr/>
        </p:nvSpPr>
        <p:spPr>
          <a:xfrm>
            <a:off x="4794439" y="2263311"/>
            <a:ext cx="442178" cy="175433"/>
          </a:xfrm>
          <a:prstGeom prst="rect">
            <a:avLst/>
          </a:prstGeom>
          <a:solidFill>
            <a:srgbClr val="E9EEEF"/>
          </a:solidFill>
        </p:spPr>
        <p:txBody>
          <a:bodyPr wrap="square" lIns="32400" rIns="32400" rtlCol="0">
            <a:spAutoFit/>
          </a:bodyPr>
          <a:lstStyle/>
          <a:p>
            <a:r>
              <a:rPr lang="en-US" sz="540" b="1" dirty="0"/>
              <a:t>Quick link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="" xmlns:a16="http://schemas.microsoft.com/office/drawing/2014/main" id="{1DAECBB5-5710-BB43-BE20-9EE7EA4A2461}"/>
              </a:ext>
            </a:extLst>
          </p:cNvPr>
          <p:cNvSpPr/>
          <p:nvPr/>
        </p:nvSpPr>
        <p:spPr>
          <a:xfrm>
            <a:off x="5803627" y="3399234"/>
            <a:ext cx="77797" cy="4614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" rIns="32400" rtlCol="0" anchor="b"/>
          <a:lstStyle/>
          <a:p>
            <a:pPr algn="ctr"/>
            <a:endParaRPr lang="en-US" sz="450" dirty="0"/>
          </a:p>
        </p:txBody>
      </p:sp>
      <p:sp>
        <p:nvSpPr>
          <p:cNvPr id="38" name="Rectangle 37">
            <a:extLst>
              <a:ext uri="{FF2B5EF4-FFF2-40B4-BE49-F238E27FC236}">
                <a16:creationId xmlns="" xmlns:a16="http://schemas.microsoft.com/office/drawing/2014/main" id="{362B4DFD-9CA7-4742-A753-7D1AC32087A9}"/>
              </a:ext>
            </a:extLst>
          </p:cNvPr>
          <p:cNvSpPr/>
          <p:nvPr/>
        </p:nvSpPr>
        <p:spPr>
          <a:xfrm>
            <a:off x="4750328" y="3292729"/>
            <a:ext cx="1131096" cy="639053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dirty="0"/>
          </a:p>
        </p:txBody>
      </p:sp>
      <p:pic>
        <p:nvPicPr>
          <p:cNvPr id="34" name="Picture 33">
            <a:extLst>
              <a:ext uri="{FF2B5EF4-FFF2-40B4-BE49-F238E27FC236}">
                <a16:creationId xmlns="" xmlns:a16="http://schemas.microsoft.com/office/drawing/2014/main" id="{32189239-71B4-4B44-AEE8-74CF6FEF374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0280" y="2524508"/>
            <a:ext cx="344193" cy="301055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490B4E01-9A04-4840-B3B7-2886C27F1222}"/>
              </a:ext>
            </a:extLst>
          </p:cNvPr>
          <p:cNvSpPr txBox="1"/>
          <p:nvPr/>
        </p:nvSpPr>
        <p:spPr>
          <a:xfrm>
            <a:off x="4814411" y="3082142"/>
            <a:ext cx="752668" cy="258532"/>
          </a:xfrm>
          <a:prstGeom prst="rect">
            <a:avLst/>
          </a:prstGeom>
          <a:solidFill>
            <a:srgbClr val="E9EEEF"/>
          </a:solidFill>
        </p:spPr>
        <p:txBody>
          <a:bodyPr wrap="square" lIns="32400" rIns="32400" rtlCol="0">
            <a:spAutoFit/>
          </a:bodyPr>
          <a:lstStyle/>
          <a:p>
            <a:r>
              <a:rPr lang="en-US" sz="540" b="1" dirty="0"/>
              <a:t>Other services for you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="" xmlns:a16="http://schemas.microsoft.com/office/drawing/2014/main" id="{4E64CC53-4E8A-5245-95B1-E04CD5328AA5}"/>
              </a:ext>
            </a:extLst>
          </p:cNvPr>
          <p:cNvSpPr txBox="1"/>
          <p:nvPr/>
        </p:nvSpPr>
        <p:spPr>
          <a:xfrm>
            <a:off x="4797690" y="3215759"/>
            <a:ext cx="442178" cy="258532"/>
          </a:xfrm>
          <a:prstGeom prst="rect">
            <a:avLst/>
          </a:prstGeom>
          <a:solidFill>
            <a:srgbClr val="E9EEEF"/>
          </a:solidFill>
        </p:spPr>
        <p:txBody>
          <a:bodyPr wrap="square" lIns="32400" rIns="32400" rtlCol="0">
            <a:spAutoFit/>
          </a:bodyPr>
          <a:lstStyle/>
          <a:p>
            <a:r>
              <a:rPr lang="en-US" sz="540" b="1" dirty="0">
                <a:solidFill>
                  <a:schemeClr val="bg1">
                    <a:lumMod val="50000"/>
                  </a:schemeClr>
                </a:solidFill>
              </a:rPr>
              <a:t>In your area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="" xmlns:a16="http://schemas.microsoft.com/office/drawing/2014/main" id="{6830207A-4F56-AC43-AC83-06D61840C2A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3370" y="3397210"/>
            <a:ext cx="438675" cy="464537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="" xmlns:a16="http://schemas.microsoft.com/office/drawing/2014/main" id="{540D1DAB-033F-BF4C-B43A-BF7756743099}"/>
              </a:ext>
            </a:extLst>
          </p:cNvPr>
          <p:cNvSpPr/>
          <p:nvPr/>
        </p:nvSpPr>
        <p:spPr>
          <a:xfrm>
            <a:off x="4783370" y="3398483"/>
            <a:ext cx="438676" cy="462147"/>
          </a:xfrm>
          <a:prstGeom prst="rect">
            <a:avLst/>
          </a:prstGeom>
          <a:solidFill>
            <a:schemeClr val="accent1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" rIns="32400" rtlCol="0" anchor="b"/>
          <a:lstStyle/>
          <a:p>
            <a:pPr algn="ctr"/>
            <a:r>
              <a:rPr lang="en-US" sz="450" b="1" dirty="0"/>
              <a:t>VideoDoc Leeds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="" xmlns:a16="http://schemas.microsoft.com/office/drawing/2014/main" id="{3870349C-25F1-9A40-9271-20C74C05777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08257" y="3403401"/>
            <a:ext cx="438676" cy="457525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="" xmlns:a16="http://schemas.microsoft.com/office/drawing/2014/main" id="{970FE4D0-B65A-5C40-A8BE-0F4E1D45369A}"/>
              </a:ext>
            </a:extLst>
          </p:cNvPr>
          <p:cNvSpPr/>
          <p:nvPr/>
        </p:nvSpPr>
        <p:spPr>
          <a:xfrm>
            <a:off x="5308236" y="3399234"/>
            <a:ext cx="438363" cy="46144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" rIns="32400" rtlCol="0" anchor="b"/>
          <a:lstStyle/>
          <a:p>
            <a:pPr algn="ctr"/>
            <a:r>
              <a:rPr lang="en-US" sz="450" b="1" dirty="0"/>
              <a:t>Medicine Direct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="" xmlns:a16="http://schemas.microsoft.com/office/drawing/2014/main" id="{8ACFB662-22E6-8F41-9126-D097286CBA5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8160" y="2563624"/>
            <a:ext cx="200708" cy="176429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="" xmlns:a16="http://schemas.microsoft.com/office/drawing/2014/main" id="{E601CF93-CF68-F543-BE30-5AE3CCD90E36}"/>
              </a:ext>
            </a:extLst>
          </p:cNvPr>
          <p:cNvPicPr>
            <a:picLocks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4158" y="1924616"/>
            <a:ext cx="1092865" cy="218877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F5D2F004-FEBF-D246-9071-5D2E118E6DC0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26"/>
          <a:stretch/>
        </p:blipFill>
        <p:spPr>
          <a:xfrm>
            <a:off x="6203884" y="2200435"/>
            <a:ext cx="1088591" cy="1741193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="" xmlns:a16="http://schemas.microsoft.com/office/drawing/2014/main" id="{0BE682CE-7229-FD4A-B5AD-27720F0C06F0}"/>
              </a:ext>
            </a:extLst>
          </p:cNvPr>
          <p:cNvPicPr>
            <a:picLocks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3400" y="1779662"/>
            <a:ext cx="1172014" cy="244753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="" xmlns:a16="http://schemas.microsoft.com/office/drawing/2014/main" id="{EB2EABA9-2F34-CD49-9BF5-A541459F6215}"/>
              </a:ext>
            </a:extLst>
          </p:cNvPr>
          <p:cNvPicPr>
            <a:picLocks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208" y="1924616"/>
            <a:ext cx="1092865" cy="218877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4FBC11F9-7A0E-AD47-AF49-4BA5CAA681E4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17209" y="2200436"/>
            <a:ext cx="1092865" cy="1751259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="" xmlns:a16="http://schemas.microsoft.com/office/drawing/2014/main" id="{CD823FF3-4863-CF47-BF4A-AC4BB3FC53FB}"/>
              </a:ext>
            </a:extLst>
          </p:cNvPr>
          <p:cNvPicPr>
            <a:picLocks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76450" y="1779662"/>
            <a:ext cx="1172014" cy="244753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CF12902A-578A-E94F-8F5A-89D0B89802E2}"/>
              </a:ext>
            </a:extLst>
          </p:cNvPr>
          <p:cNvPicPr>
            <a:picLocks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2368" y="1780404"/>
            <a:ext cx="1172014" cy="2447530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="" xmlns:a16="http://schemas.microsoft.com/office/drawing/2014/main" id="{CCD66ACA-8F44-DC4D-9FF5-F306D1B20ECD}"/>
              </a:ext>
            </a:extLst>
          </p:cNvPr>
          <p:cNvSpPr/>
          <p:nvPr/>
        </p:nvSpPr>
        <p:spPr>
          <a:xfrm>
            <a:off x="6459423" y="436290"/>
            <a:ext cx="406044" cy="127034"/>
          </a:xfrm>
          <a:prstGeom prst="rect">
            <a:avLst/>
          </a:prstGeom>
          <a:solidFill>
            <a:schemeClr val="bg1"/>
          </a:solidFill>
          <a:ln w="1905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540" b="1" dirty="0">
                <a:solidFill>
                  <a:srgbClr val="FF0000"/>
                </a:solidFill>
              </a:rPr>
              <a:t>DRAFT</a:t>
            </a:r>
            <a:endParaRPr lang="en-US" sz="540" b="1" dirty="0">
              <a:solidFill>
                <a:srgbClr val="FF0000"/>
              </a:solidFill>
            </a:endParaRPr>
          </a:p>
        </p:txBody>
      </p:sp>
      <p:sp>
        <p:nvSpPr>
          <p:cNvPr id="35" name="Shape 88">
            <a:extLst>
              <a:ext uri="{FF2B5EF4-FFF2-40B4-BE49-F238E27FC236}">
                <a16:creationId xmlns="" xmlns:a16="http://schemas.microsoft.com/office/drawing/2014/main" id="{7F3E0700-CE04-4842-BCAB-BE9808EFF4B6}"/>
              </a:ext>
            </a:extLst>
          </p:cNvPr>
          <p:cNvSpPr/>
          <p:nvPr/>
        </p:nvSpPr>
        <p:spPr>
          <a:xfrm>
            <a:off x="0" y="0"/>
            <a:ext cx="9144000" cy="9941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82283" tIns="82283" rIns="82283" bIns="82283" anchor="ctr" anchorCtr="0">
            <a:noAutofit/>
          </a:bodyPr>
          <a:lstStyle/>
          <a:p>
            <a:pPr defTabSz="822960">
              <a:buClr>
                <a:srgbClr val="000000"/>
              </a:buClr>
            </a:pPr>
            <a:endParaRPr sz="126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6" name="Title 2">
            <a:extLst>
              <a:ext uri="{FF2B5EF4-FFF2-40B4-BE49-F238E27FC236}">
                <a16:creationId xmlns="" xmlns:a16="http://schemas.microsoft.com/office/drawing/2014/main" id="{E20E95F6-9754-5C4C-A960-FEB9BB0E9F38}"/>
              </a:ext>
            </a:extLst>
          </p:cNvPr>
          <p:cNvSpPr txBox="1">
            <a:spLocks/>
          </p:cNvSpPr>
          <p:nvPr/>
        </p:nvSpPr>
        <p:spPr>
          <a:xfrm>
            <a:off x="450831" y="0"/>
            <a:ext cx="7632000" cy="93609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rmAutofit lnSpcReduction="10000"/>
          </a:bodyPr>
          <a:lstStyle>
            <a:lvl1pPr marR="0" lvl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Font typeface="Open Sans"/>
              <a:buNone/>
              <a:defRPr sz="2700" b="1" i="0" u="none" strike="noStrike" kern="1200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9pPr>
          </a:lstStyle>
          <a:p>
            <a:r>
              <a:rPr lang="en-US" dirty="0">
                <a:solidFill>
                  <a:schemeClr val="bg1"/>
                </a:solidFill>
              </a:rPr>
              <a:t>Enabling and promoting other services from the app</a:t>
            </a:r>
          </a:p>
        </p:txBody>
      </p:sp>
    </p:spTree>
    <p:extLst>
      <p:ext uri="{BB962C8B-B14F-4D97-AF65-F5344CB8AC3E}">
        <p14:creationId xmlns:p14="http://schemas.microsoft.com/office/powerpoint/2010/main" val="902029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20BDCE1F-CDE4-4362-B9B3-4D1F0EE957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Citizen identit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37BDAA10-A467-4DF1-9DF2-E511A3C44F0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96464" y="4464000"/>
            <a:ext cx="3924008" cy="540000"/>
          </a:xfrm>
        </p:spPr>
        <p:txBody>
          <a:bodyPr/>
          <a:lstStyle/>
          <a:p>
            <a:r>
              <a:rPr lang="en-GB" dirty="0"/>
              <a:t>Presented by Adam Lewis</a:t>
            </a:r>
          </a:p>
          <a:p>
            <a:r>
              <a:rPr lang="en-GB" b="0" dirty="0"/>
              <a:t>Programme Director</a:t>
            </a:r>
          </a:p>
        </p:txBody>
      </p:sp>
    </p:spTree>
    <p:extLst>
      <p:ext uri="{BB962C8B-B14F-4D97-AF65-F5344CB8AC3E}">
        <p14:creationId xmlns:p14="http://schemas.microsoft.com/office/powerpoint/2010/main" val="1474676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44CB292F-7F62-4569-9265-799BB6C7C8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It’s time to enga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051C9961-8192-449B-B9AA-B88FCFB8D9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000" y="1243327"/>
            <a:ext cx="7704000" cy="3404873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GB" dirty="0"/>
              <a:t>Are you delivering patient facing digital tools and services?</a:t>
            </a:r>
          </a:p>
          <a:p>
            <a:pPr marL="0" indent="0">
              <a:buNone/>
            </a:pPr>
            <a:r>
              <a:rPr lang="en-GB" dirty="0"/>
              <a:t>Do they…</a:t>
            </a:r>
          </a:p>
          <a:p>
            <a:r>
              <a:rPr lang="en-GB" dirty="0"/>
              <a:t>contain sensitive data?</a:t>
            </a:r>
          </a:p>
          <a:p>
            <a:r>
              <a:rPr lang="en-GB" dirty="0"/>
              <a:t>require sign on?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Then contact us – cid.phr@nhs.net </a:t>
            </a:r>
          </a:p>
          <a:p>
            <a:r>
              <a:rPr lang="en-GB" dirty="0"/>
              <a:t>join our reference group</a:t>
            </a:r>
          </a:p>
          <a:p>
            <a:r>
              <a:rPr lang="en-GB" dirty="0"/>
              <a:t>begin the onboarding process to access service capabilities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Our service will be available to suppliers in late 2018 - currently ~30 services at some stage in the proces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FEA7D5FA-1179-4FC2-903A-7A2CC15942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2E129E-16B7-480B-972E-C025DBFD1D53}" type="slidenum">
              <a:rPr lang="en-GB" smtClean="0"/>
              <a:pPr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9277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="" xmlns:a16="http://schemas.microsoft.com/office/drawing/2014/main" id="{EB1D2B5B-0BB9-471A-A256-D06D529BD2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840" y="342900"/>
            <a:ext cx="3097179" cy="1200150"/>
          </a:xfrm>
        </p:spPr>
        <p:txBody>
          <a:bodyPr>
            <a:normAutofit fontScale="90000"/>
          </a:bodyPr>
          <a:lstStyle/>
          <a:p>
            <a:r>
              <a:rPr lang="en-GB" dirty="0"/>
              <a:t>We need to recreate this level of security, privacy and safety, </a:t>
            </a:r>
            <a:r>
              <a:rPr lang="en-GB" u="sng" dirty="0"/>
              <a:t>online</a:t>
            </a:r>
            <a:r>
              <a:rPr lang="en-GB" dirty="0"/>
              <a:t> </a:t>
            </a:r>
            <a:r>
              <a:rPr lang="en-GB" dirty="0">
                <a:sym typeface="Wingdings" panose="05000000000000000000" pitchFamily="2" charset="2"/>
              </a:rPr>
              <a:t>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CE6BB25E-15F5-4E06-97E3-5F6D7BB251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81840" y="1856176"/>
            <a:ext cx="3514096" cy="2944424"/>
          </a:xfrm>
        </p:spPr>
        <p:txBody>
          <a:bodyPr>
            <a:normAutofit/>
          </a:bodyPr>
          <a:lstStyle/>
          <a:p>
            <a:r>
              <a:rPr lang="en-GB" sz="1800" dirty="0"/>
              <a:t>Trust is implicit, because it’s face to face</a:t>
            </a:r>
          </a:p>
          <a:p>
            <a:r>
              <a:rPr lang="en-GB" sz="1800" dirty="0"/>
              <a:t>Clinical safety is built in as Care workers can make decisions as part of the process</a:t>
            </a:r>
          </a:p>
          <a:p>
            <a:r>
              <a:rPr lang="en-GB" sz="1800" dirty="0"/>
              <a:t>The problem is it’s expensive to work this way &amp; capacity is an issue</a:t>
            </a:r>
          </a:p>
          <a:p>
            <a:endParaRPr lang="en-GB" sz="2400" dirty="0"/>
          </a:p>
          <a:p>
            <a:endParaRPr lang="en-GB" sz="2400" dirty="0"/>
          </a:p>
        </p:txBody>
      </p:sp>
      <p:pic>
        <p:nvPicPr>
          <p:cNvPr id="1026" name="Picture 2" descr="Image result for gp consultation">
            <a:extLst>
              <a:ext uri="{FF2B5EF4-FFF2-40B4-BE49-F238E27FC236}">
                <a16:creationId xmlns="" xmlns:a16="http://schemas.microsoft.com/office/drawing/2014/main" id="{6B77C12F-A7A0-4B7C-9B59-AB5CF54D90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960" y="267494"/>
            <a:ext cx="4642606" cy="3096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1435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CD6101A-F207-48C0-B704-C85C8F9E75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are we delivering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68AEB631-E2BD-4F36-ADB1-87EE33243D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6689" y="1080000"/>
            <a:ext cx="8129751" cy="3435966"/>
          </a:xfrm>
        </p:spPr>
        <p:txBody>
          <a:bodyPr>
            <a:norm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A common process for people to “sign in” to a large range of services</a:t>
            </a:r>
          </a:p>
          <a:p>
            <a:pPr lvl="1"/>
            <a:r>
              <a:rPr lang="en-GB" dirty="0">
                <a:solidFill>
                  <a:schemeClr val="bg1"/>
                </a:solidFill>
              </a:rPr>
              <a:t>This will be a completely new service, but we are working on migration path for existing Patient Online users</a:t>
            </a:r>
          </a:p>
          <a:p>
            <a:r>
              <a:rPr lang="en-GB" dirty="0">
                <a:solidFill>
                  <a:schemeClr val="bg1"/>
                </a:solidFill>
              </a:rPr>
              <a:t>Where people need to prove their identity we will provide:</a:t>
            </a:r>
          </a:p>
          <a:p>
            <a:pPr lvl="1">
              <a:buFontTx/>
              <a:buChar char="-"/>
            </a:pPr>
            <a:r>
              <a:rPr lang="en-GB" dirty="0">
                <a:solidFill>
                  <a:schemeClr val="bg1"/>
                </a:solidFill>
              </a:rPr>
              <a:t>An online process allowing people to get access quickly</a:t>
            </a:r>
          </a:p>
          <a:p>
            <a:pPr lvl="1">
              <a:buFontTx/>
              <a:buChar char="-"/>
            </a:pPr>
            <a:r>
              <a:rPr lang="en-GB" dirty="0">
                <a:solidFill>
                  <a:schemeClr val="bg1"/>
                </a:solidFill>
              </a:rPr>
              <a:t>Supporting offline journeys with options for people who cannot complete online</a:t>
            </a:r>
          </a:p>
          <a:p>
            <a:r>
              <a:rPr lang="en-GB" dirty="0">
                <a:solidFill>
                  <a:schemeClr val="bg1"/>
                </a:solidFill>
              </a:rPr>
              <a:t>In future: support for carers / power of attorney 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1825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355">
            <a:extLst>
              <a:ext uri="{FF2B5EF4-FFF2-40B4-BE49-F238E27FC236}">
                <a16:creationId xmlns="" xmlns:a16="http://schemas.microsoft.com/office/drawing/2014/main" id="{30043678-C906-4E58-93B1-6788CA01EC5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44372" y="106424"/>
            <a:ext cx="8003100" cy="6606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marL="152403" indent="0" algn="ctr">
              <a:spcBef>
                <a:spcPts val="0"/>
              </a:spcBef>
              <a:buNone/>
            </a:pPr>
            <a:r>
              <a:rPr lang="en-GB" dirty="0"/>
              <a:t>Single Identity Managed Online for the NHS</a:t>
            </a:r>
          </a:p>
        </p:txBody>
      </p:sp>
      <p:sp>
        <p:nvSpPr>
          <p:cNvPr id="6" name="Shape 369">
            <a:extLst>
              <a:ext uri="{FF2B5EF4-FFF2-40B4-BE49-F238E27FC236}">
                <a16:creationId xmlns="" xmlns:a16="http://schemas.microsoft.com/office/drawing/2014/main" id="{C59F6878-7244-4E6B-8FB7-E2248E35AF7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66100" y="360001"/>
            <a:ext cx="7986000" cy="5295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noAutofit/>
          </a:bodyPr>
          <a:lstStyle/>
          <a:p>
            <a:pPr algn="ctr"/>
            <a:r>
              <a:rPr lang="en-GB" dirty="0"/>
              <a:t>Delivery Scop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324E8973-4CB4-48CC-B0DB-4E4E209333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199" y="904772"/>
            <a:ext cx="8641601" cy="4115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356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131840" y="4464000"/>
            <a:ext cx="5436176" cy="556022"/>
          </a:xfrm>
        </p:spPr>
        <p:txBody>
          <a:bodyPr>
            <a:normAutofit fontScale="92500" lnSpcReduction="10000"/>
          </a:bodyPr>
          <a:lstStyle/>
          <a:p>
            <a:r>
              <a:rPr lang="en-GB" sz="1800" dirty="0"/>
              <a:t>Juliet Bauer, Chief Digital Officer</a:t>
            </a:r>
          </a:p>
          <a:p>
            <a:r>
              <a:rPr lang="en-GB" sz="1800" b="0" dirty="0"/>
              <a:t>NHS England</a:t>
            </a:r>
          </a:p>
          <a:p>
            <a:endParaRPr lang="en-GB" dirty="0"/>
          </a:p>
        </p:txBody>
      </p:sp>
      <p:sp>
        <p:nvSpPr>
          <p:cNvPr id="5" name="Text Placeholder 1">
            <a:extLst>
              <a:ext uri="{FF2B5EF4-FFF2-40B4-BE49-F238E27FC236}">
                <a16:creationId xmlns="" xmlns:a16="http://schemas.microsoft.com/office/drawing/2014/main" id="{4B8B07CF-89BD-44BE-A38B-CD501823774F}"/>
              </a:ext>
            </a:extLst>
          </p:cNvPr>
          <p:cNvSpPr>
            <a:spLocks noGrp="1"/>
          </p:cNvSpPr>
          <p:nvPr/>
        </p:nvSpPr>
        <p:spPr>
          <a:xfrm>
            <a:off x="720000" y="1563638"/>
            <a:ext cx="6660312" cy="5319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3000" b="1" kern="1200" spc="-4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800" dirty="0"/>
              <a:t>Building a digital </a:t>
            </a:r>
            <a:r>
              <a:rPr lang="en-GB" sz="2800" dirty="0" smtClean="0"/>
              <a:t>NHS: </a:t>
            </a:r>
          </a:p>
          <a:p>
            <a:r>
              <a:rPr lang="en-GB" sz="2800" dirty="0" smtClean="0"/>
              <a:t>Which empowers people to manage their health and care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2077443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44CB292F-7F62-4569-9265-799BB6C7C8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Key concep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051C9961-8192-449B-B9AA-B88FCFB8D9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000" y="1177159"/>
            <a:ext cx="7704000" cy="3471041"/>
          </a:xfrm>
        </p:spPr>
        <p:txBody>
          <a:bodyPr>
            <a:normAutofit fontScale="92500"/>
          </a:bodyPr>
          <a:lstStyle/>
          <a:p>
            <a:pPr marL="514350" indent="-514350">
              <a:buFont typeface="+mj-lt"/>
              <a:buAutoNum type="arabicPeriod"/>
            </a:pPr>
            <a:r>
              <a:rPr lang="en-GB" dirty="0"/>
              <a:t>Service is consent based – we are not forcing people to use it</a:t>
            </a:r>
          </a:p>
          <a:p>
            <a:pPr marL="914400" lvl="1" indent="-514350"/>
            <a:r>
              <a:rPr lang="en-GB" dirty="0"/>
              <a:t>people without photo ID will have to use offline journeys 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NHS number used for matching patients to their records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Free at point of use for patients and NHS organisations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Authentication will be adaptive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We support working with cross government Identity – </a:t>
            </a:r>
            <a:r>
              <a:rPr lang="en-GB" i="1" dirty="0"/>
              <a:t>with some caveats</a:t>
            </a:r>
            <a:endParaRPr lang="en-GB" dirty="0"/>
          </a:p>
          <a:p>
            <a:pPr marL="514350" indent="-514350">
              <a:buFont typeface="+mj-lt"/>
              <a:buAutoNum type="arabicPeriod"/>
            </a:pPr>
            <a:endParaRPr lang="en-GB" dirty="0"/>
          </a:p>
          <a:p>
            <a:pPr marL="514350" indent="-514350">
              <a:buFont typeface="+mj-lt"/>
              <a:buAutoNum type="arabicPeriod"/>
            </a:pPr>
            <a:endParaRPr lang="en-GB" dirty="0"/>
          </a:p>
          <a:p>
            <a:pPr marL="514350" indent="-514350">
              <a:buFont typeface="+mj-lt"/>
              <a:buAutoNum type="arabicPeriod"/>
            </a:pPr>
            <a:endParaRPr lang="en-GB" dirty="0"/>
          </a:p>
          <a:p>
            <a:pPr marL="514350" indent="-514350">
              <a:buFont typeface="+mj-lt"/>
              <a:buAutoNum type="arabicPeriod"/>
            </a:pP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FEA7D5FA-1179-4FC2-903A-7A2CC15942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2E129E-16B7-480B-972E-C025DBFD1D53}" type="slidenum">
              <a:rPr kumimoji="0" lang="en-GB" sz="1000" b="0" i="0" u="none" strike="noStrike" kern="0" cap="none" spc="0" normalizeH="0" baseline="0" noProof="0" smtClean="0">
                <a:ln>
                  <a:noFill/>
                </a:ln>
                <a:solidFill>
                  <a:srgbClr val="424D58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GB" sz="1000" b="0" i="0" u="none" strike="noStrike" kern="0" cap="none" spc="0" normalizeH="0" baseline="0" noProof="0" dirty="0">
              <a:ln>
                <a:noFill/>
              </a:ln>
              <a:solidFill>
                <a:srgbClr val="424D58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67692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="" xmlns:a16="http://schemas.microsoft.com/office/drawing/2014/main" id="{BFDC3916-4444-464E-8352-67B8689A90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w prototype video</a:t>
            </a:r>
          </a:p>
        </p:txBody>
      </p:sp>
      <p:pic>
        <p:nvPicPr>
          <p:cNvPr id="2" name="CID PYI 06062018.wmv">
            <a:hlinkClick r:id="" action="ppaction://media"/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611313" y="1079500"/>
            <a:ext cx="5919787" cy="3436938"/>
          </a:xfrm>
        </p:spPr>
      </p:pic>
    </p:spTree>
    <p:extLst>
      <p:ext uri="{BB962C8B-B14F-4D97-AF65-F5344CB8AC3E}">
        <p14:creationId xmlns:p14="http://schemas.microsoft.com/office/powerpoint/2010/main" val="13182784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Shape 87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vert="horz" wrap="square" lIns="74055" tIns="37017" rIns="74055" bIns="37017" rtlCol="0" anchor="ctr" anchorCtr="0">
            <a:noAutofit/>
          </a:bodyPr>
          <a:lstStyle/>
          <a:p>
            <a:fld id="{00000000-1234-1234-1234-123412341234}" type="slidenum">
              <a:rPr lang="en-US"/>
              <a:pPr/>
              <a:t>32</a:t>
            </a:fld>
            <a:endParaRPr dirty="0"/>
          </a:p>
        </p:txBody>
      </p:sp>
      <p:sp>
        <p:nvSpPr>
          <p:cNvPr id="85" name="Shape 85"/>
          <p:cNvSpPr txBox="1">
            <a:spLocks noGrp="1"/>
          </p:cNvSpPr>
          <p:nvPr>
            <p:ph type="title"/>
          </p:nvPr>
        </p:nvSpPr>
        <p:spPr>
          <a:xfrm>
            <a:off x="583669" y="58534"/>
            <a:ext cx="7010023" cy="842400"/>
          </a:xfrm>
          <a:prstGeom prst="rect">
            <a:avLst/>
          </a:prstGeom>
        </p:spPr>
        <p:txBody>
          <a:bodyPr spcFirstLastPara="1" vert="horz" wrap="square" lIns="74055" tIns="74055" rIns="74055" bIns="74055" rtlCol="0" anchor="ctr" anchorCtr="0">
            <a:noAutofit/>
          </a:bodyPr>
          <a:lstStyle/>
          <a:p>
            <a:r>
              <a:rPr lang="en-GB" dirty="0">
                <a:latin typeface="Arial"/>
                <a:ea typeface="Arial"/>
                <a:cs typeface="Arial"/>
                <a:sym typeface="Arial"/>
              </a:rPr>
              <a:t>Integrating services into the NHS App</a:t>
            </a:r>
            <a:endParaRPr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="" xmlns:a16="http://schemas.microsoft.com/office/drawing/2014/main" id="{CCD66ACA-8F44-DC4D-9FF5-F306D1B20ECD}"/>
              </a:ext>
            </a:extLst>
          </p:cNvPr>
          <p:cNvSpPr/>
          <p:nvPr/>
        </p:nvSpPr>
        <p:spPr>
          <a:xfrm>
            <a:off x="6459423" y="436290"/>
            <a:ext cx="406044" cy="127034"/>
          </a:xfrm>
          <a:prstGeom prst="rect">
            <a:avLst/>
          </a:prstGeom>
          <a:solidFill>
            <a:schemeClr val="bg1"/>
          </a:solidFill>
          <a:ln w="1905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540" b="1" dirty="0">
                <a:solidFill>
                  <a:srgbClr val="FF0000"/>
                </a:solidFill>
              </a:rPr>
              <a:t>DRAFT</a:t>
            </a:r>
            <a:endParaRPr lang="en-US" sz="540" b="1" dirty="0">
              <a:solidFill>
                <a:srgbClr val="FF0000"/>
              </a:solidFill>
            </a:endParaRPr>
          </a:p>
        </p:txBody>
      </p:sp>
      <p:sp>
        <p:nvSpPr>
          <p:cNvPr id="35" name="Shape 88">
            <a:extLst>
              <a:ext uri="{FF2B5EF4-FFF2-40B4-BE49-F238E27FC236}">
                <a16:creationId xmlns="" xmlns:a16="http://schemas.microsoft.com/office/drawing/2014/main" id="{7F3E0700-CE04-4842-BCAB-BE9808EFF4B6}"/>
              </a:ext>
            </a:extLst>
          </p:cNvPr>
          <p:cNvSpPr/>
          <p:nvPr/>
        </p:nvSpPr>
        <p:spPr>
          <a:xfrm>
            <a:off x="0" y="0"/>
            <a:ext cx="9144000" cy="9941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82283" tIns="82283" rIns="82283" bIns="82283" anchor="ctr" anchorCtr="0">
            <a:noAutofit/>
          </a:bodyPr>
          <a:lstStyle/>
          <a:p>
            <a:pPr defTabSz="822960">
              <a:buClr>
                <a:srgbClr val="000000"/>
              </a:buClr>
            </a:pPr>
            <a:endParaRPr sz="126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6" name="Title 2">
            <a:extLst>
              <a:ext uri="{FF2B5EF4-FFF2-40B4-BE49-F238E27FC236}">
                <a16:creationId xmlns="" xmlns:a16="http://schemas.microsoft.com/office/drawing/2014/main" id="{E20E95F6-9754-5C4C-A960-FEB9BB0E9F38}"/>
              </a:ext>
            </a:extLst>
          </p:cNvPr>
          <p:cNvSpPr txBox="1">
            <a:spLocks/>
          </p:cNvSpPr>
          <p:nvPr/>
        </p:nvSpPr>
        <p:spPr>
          <a:xfrm>
            <a:off x="414720" y="17836"/>
            <a:ext cx="7632000" cy="93609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rmAutofit/>
          </a:bodyPr>
          <a:lstStyle>
            <a:lvl1pPr marR="0" lvl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Font typeface="Open Sans"/>
              <a:buNone/>
              <a:defRPr sz="2700" b="1" i="0" u="none" strike="noStrike" kern="1200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9pPr>
          </a:lstStyle>
          <a:p>
            <a:r>
              <a:rPr lang="en-US" dirty="0" smtClean="0">
                <a:solidFill>
                  <a:schemeClr val="bg1"/>
                </a:solidFill>
              </a:rPr>
              <a:t>Personal </a:t>
            </a:r>
            <a:r>
              <a:rPr lang="en-US" dirty="0">
                <a:solidFill>
                  <a:schemeClr val="bg1"/>
                </a:solidFill>
              </a:rPr>
              <a:t>Health Record</a:t>
            </a:r>
          </a:p>
        </p:txBody>
      </p:sp>
      <p:pic>
        <p:nvPicPr>
          <p:cNvPr id="43" name="Picture 2" descr="C:\Users\DShaplan\AppData\Local\Temp\Rar$DIa0.409\NHS 10mm - RGB Blue on white.jpg">
            <a:extLst>
              <a:ext uri="{FF2B5EF4-FFF2-40B4-BE49-F238E27FC236}">
                <a16:creationId xmlns="" xmlns:a16="http://schemas.microsoft.com/office/drawing/2014/main" id="{CC46DAAC-6E15-614B-BF78-360641A707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3050" y="213059"/>
            <a:ext cx="618476" cy="24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5">
            <a:extLst>
              <a:ext uri="{FF2B5EF4-FFF2-40B4-BE49-F238E27FC236}">
                <a16:creationId xmlns="" xmlns:a16="http://schemas.microsoft.com/office/drawing/2014/main" id="{EDF073CA-D83E-8747-8819-6BADCE50A9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552" y="1179495"/>
            <a:ext cx="3096344" cy="3679560"/>
          </a:xfrm>
        </p:spPr>
        <p:txBody>
          <a:bodyPr>
            <a:normAutofit lnSpcReduction="10000"/>
          </a:bodyPr>
          <a:lstStyle/>
          <a:p>
            <a:pPr>
              <a:lnSpc>
                <a:spcPct val="150000"/>
              </a:lnSpc>
              <a:buClr>
                <a:schemeClr val="tx2"/>
              </a:buClr>
            </a:pPr>
            <a:r>
              <a:rPr lang="en-GB" sz="1800" dirty="0">
                <a:solidFill>
                  <a:srgbClr val="005EB8"/>
                </a:solidFill>
              </a:rPr>
              <a:t>Principles and guidance </a:t>
            </a:r>
          </a:p>
          <a:p>
            <a:pPr>
              <a:lnSpc>
                <a:spcPct val="150000"/>
              </a:lnSpc>
              <a:buClr>
                <a:schemeClr val="tx2"/>
              </a:buClr>
            </a:pPr>
            <a:r>
              <a:rPr lang="en-GB" sz="1800" dirty="0">
                <a:solidFill>
                  <a:srgbClr val="005EB8"/>
                </a:solidFill>
              </a:rPr>
              <a:t>Standards</a:t>
            </a:r>
          </a:p>
          <a:p>
            <a:pPr>
              <a:lnSpc>
                <a:spcPct val="150000"/>
              </a:lnSpc>
              <a:buClr>
                <a:schemeClr val="tx2"/>
              </a:buClr>
            </a:pPr>
            <a:r>
              <a:rPr lang="en-GB" sz="1800" dirty="0">
                <a:solidFill>
                  <a:srgbClr val="005EB8"/>
                </a:solidFill>
              </a:rPr>
              <a:t>Adoption toolkit</a:t>
            </a:r>
          </a:p>
          <a:p>
            <a:pPr>
              <a:lnSpc>
                <a:spcPct val="150000"/>
              </a:lnSpc>
              <a:buClr>
                <a:schemeClr val="tx2"/>
              </a:buClr>
            </a:pPr>
            <a:r>
              <a:rPr lang="en-GB" sz="1800" dirty="0">
                <a:solidFill>
                  <a:srgbClr val="005EB8"/>
                </a:solidFill>
              </a:rPr>
              <a:t>Welcome feedback!</a:t>
            </a:r>
          </a:p>
          <a:p>
            <a:pPr>
              <a:lnSpc>
                <a:spcPct val="150000"/>
              </a:lnSpc>
              <a:buClr>
                <a:schemeClr val="tx2"/>
              </a:buClr>
            </a:pPr>
            <a:endParaRPr lang="en-GB" sz="1800" dirty="0">
              <a:solidFill>
                <a:srgbClr val="005EB8"/>
              </a:solidFill>
            </a:endParaRPr>
          </a:p>
          <a:p>
            <a:pPr>
              <a:lnSpc>
                <a:spcPct val="150000"/>
              </a:lnSpc>
              <a:buClr>
                <a:schemeClr val="tx2"/>
              </a:buClr>
            </a:pPr>
            <a:r>
              <a:rPr lang="en-GB" sz="1800" dirty="0">
                <a:solidFill>
                  <a:srgbClr val="005EB8"/>
                </a:solidFill>
              </a:rPr>
              <a:t>Now working with LHCRE program to enable adoption</a:t>
            </a:r>
            <a:endParaRPr lang="en-US" sz="1800" dirty="0">
              <a:solidFill>
                <a:srgbClr val="005EB8"/>
              </a:solidFill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="" xmlns:a16="http://schemas.microsoft.com/office/drawing/2014/main" id="{B7CA59C0-C4E3-0146-95EE-A2E808713AE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885"/>
          <a:stretch/>
        </p:blipFill>
        <p:spPr bwMode="auto">
          <a:xfrm>
            <a:off x="4217552" y="678271"/>
            <a:ext cx="4114038" cy="20571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4EF6389C-FC63-7543-BAB7-C2A457063DB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636" y="2898064"/>
            <a:ext cx="4087414" cy="2124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318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20BDCE1F-CDE4-4362-B9B3-4D1F0EE957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Maternity Personal Health Record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37BDAA10-A467-4DF1-9DF2-E511A3C44F0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96464" y="4464000"/>
            <a:ext cx="3924008" cy="540000"/>
          </a:xfrm>
        </p:spPr>
        <p:txBody>
          <a:bodyPr/>
          <a:lstStyle/>
          <a:p>
            <a:r>
              <a:rPr lang="en-GB" sz="1600" dirty="0"/>
              <a:t>Juliet Bauer, Chief Digital Officer</a:t>
            </a:r>
          </a:p>
          <a:p>
            <a:r>
              <a:rPr lang="en-GB" sz="1600" b="0" dirty="0"/>
              <a:t>NHS England</a:t>
            </a:r>
          </a:p>
        </p:txBody>
      </p:sp>
    </p:spTree>
    <p:extLst>
      <p:ext uri="{BB962C8B-B14F-4D97-AF65-F5344CB8AC3E}">
        <p14:creationId xmlns:p14="http://schemas.microsoft.com/office/powerpoint/2010/main" val="1627736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Shape 87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vert="horz" wrap="square" lIns="74055" tIns="37017" rIns="74055" bIns="37017" rtlCol="0" anchor="ctr" anchorCtr="0">
            <a:noAutofit/>
          </a:bodyPr>
          <a:lstStyle/>
          <a:p>
            <a:fld id="{00000000-1234-1234-1234-123412341234}" type="slidenum">
              <a:rPr lang="en-US"/>
              <a:pPr/>
              <a:t>34</a:t>
            </a:fld>
            <a:endParaRPr dirty="0"/>
          </a:p>
        </p:txBody>
      </p:sp>
      <p:sp>
        <p:nvSpPr>
          <p:cNvPr id="85" name="Shape 85"/>
          <p:cNvSpPr txBox="1">
            <a:spLocks noGrp="1"/>
          </p:cNvSpPr>
          <p:nvPr>
            <p:ph type="title"/>
          </p:nvPr>
        </p:nvSpPr>
        <p:spPr>
          <a:xfrm>
            <a:off x="583669" y="58534"/>
            <a:ext cx="7010023" cy="842400"/>
          </a:xfrm>
          <a:prstGeom prst="rect">
            <a:avLst/>
          </a:prstGeom>
        </p:spPr>
        <p:txBody>
          <a:bodyPr spcFirstLastPara="1" vert="horz" wrap="square" lIns="74055" tIns="74055" rIns="74055" bIns="74055" rtlCol="0" anchor="ctr" anchorCtr="0">
            <a:noAutofit/>
          </a:bodyPr>
          <a:lstStyle/>
          <a:p>
            <a:r>
              <a:rPr lang="en-GB" dirty="0">
                <a:latin typeface="Arial"/>
                <a:ea typeface="Arial"/>
                <a:cs typeface="Arial"/>
                <a:sym typeface="Arial"/>
              </a:rPr>
              <a:t>Integrating services into the NHS App</a:t>
            </a:r>
            <a:endParaRPr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="" xmlns:a16="http://schemas.microsoft.com/office/drawing/2014/main" id="{CCD66ACA-8F44-DC4D-9FF5-F306D1B20ECD}"/>
              </a:ext>
            </a:extLst>
          </p:cNvPr>
          <p:cNvSpPr/>
          <p:nvPr/>
        </p:nvSpPr>
        <p:spPr>
          <a:xfrm>
            <a:off x="6459423" y="436290"/>
            <a:ext cx="406044" cy="127034"/>
          </a:xfrm>
          <a:prstGeom prst="rect">
            <a:avLst/>
          </a:prstGeom>
          <a:solidFill>
            <a:schemeClr val="bg1"/>
          </a:solidFill>
          <a:ln w="1905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540" b="1" dirty="0">
                <a:solidFill>
                  <a:srgbClr val="FF0000"/>
                </a:solidFill>
              </a:rPr>
              <a:t>DRAFT</a:t>
            </a:r>
            <a:endParaRPr lang="en-US" sz="540" b="1" dirty="0">
              <a:solidFill>
                <a:srgbClr val="FF0000"/>
              </a:solidFill>
            </a:endParaRPr>
          </a:p>
        </p:txBody>
      </p:sp>
      <p:sp>
        <p:nvSpPr>
          <p:cNvPr id="35" name="Shape 88">
            <a:extLst>
              <a:ext uri="{FF2B5EF4-FFF2-40B4-BE49-F238E27FC236}">
                <a16:creationId xmlns="" xmlns:a16="http://schemas.microsoft.com/office/drawing/2014/main" id="{7F3E0700-CE04-4842-BCAB-BE9808EFF4B6}"/>
              </a:ext>
            </a:extLst>
          </p:cNvPr>
          <p:cNvSpPr/>
          <p:nvPr/>
        </p:nvSpPr>
        <p:spPr>
          <a:xfrm>
            <a:off x="0" y="0"/>
            <a:ext cx="9144000" cy="9941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82283" tIns="82283" rIns="82283" bIns="82283" anchor="ctr" anchorCtr="0">
            <a:noAutofit/>
          </a:bodyPr>
          <a:lstStyle/>
          <a:p>
            <a:pPr defTabSz="822960">
              <a:buClr>
                <a:srgbClr val="000000"/>
              </a:buClr>
            </a:pPr>
            <a:endParaRPr sz="126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6" name="Title 2">
            <a:extLst>
              <a:ext uri="{FF2B5EF4-FFF2-40B4-BE49-F238E27FC236}">
                <a16:creationId xmlns="" xmlns:a16="http://schemas.microsoft.com/office/drawing/2014/main" id="{E20E95F6-9754-5C4C-A960-FEB9BB0E9F38}"/>
              </a:ext>
            </a:extLst>
          </p:cNvPr>
          <p:cNvSpPr txBox="1">
            <a:spLocks/>
          </p:cNvSpPr>
          <p:nvPr/>
        </p:nvSpPr>
        <p:spPr>
          <a:xfrm>
            <a:off x="450831" y="0"/>
            <a:ext cx="7632000" cy="93609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rmAutofit/>
          </a:bodyPr>
          <a:lstStyle>
            <a:lvl1pPr marR="0" lvl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Font typeface="Open Sans"/>
              <a:buNone/>
              <a:defRPr sz="2700" b="1" i="0" u="none" strike="noStrike" kern="1200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9pPr>
          </a:lstStyle>
          <a:p>
            <a:r>
              <a:rPr lang="en-GB" sz="2800" dirty="0">
                <a:solidFill>
                  <a:schemeClr val="bg1"/>
                </a:solidFill>
              </a:rPr>
              <a:t>Digital Maternity – Key projects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43" name="Picture 2" descr="C:\Users\DShaplan\AppData\Local\Temp\Rar$DIa0.409\NHS 10mm - RGB Blue on white.jpg">
            <a:extLst>
              <a:ext uri="{FF2B5EF4-FFF2-40B4-BE49-F238E27FC236}">
                <a16:creationId xmlns="" xmlns:a16="http://schemas.microsoft.com/office/drawing/2014/main" id="{CC46DAAC-6E15-614B-BF78-360641A707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3050" y="213059"/>
            <a:ext cx="618476" cy="24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BDAAF413-B5E4-ED4E-8840-23932442C1CB}"/>
              </a:ext>
            </a:extLst>
          </p:cNvPr>
          <p:cNvSpPr/>
          <p:nvPr/>
        </p:nvSpPr>
        <p:spPr>
          <a:xfrm>
            <a:off x="1835696" y="2100793"/>
            <a:ext cx="637163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2188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 toolset</a:t>
            </a:r>
          </a:p>
          <a:p>
            <a:pPr defTabSz="62188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dirty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ss to unbiased, evidence based and locally specific circumstance, care plan and options inform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F85AEC00-EAA1-6F4D-8368-77CD9B6D78E2}"/>
              </a:ext>
            </a:extLst>
          </p:cNvPr>
          <p:cNvSpPr/>
          <p:nvPr/>
        </p:nvSpPr>
        <p:spPr>
          <a:xfrm>
            <a:off x="1835696" y="1089546"/>
            <a:ext cx="637163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174905" defTabSz="62188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b="1" dirty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operable records</a:t>
            </a:r>
          </a:p>
          <a:p>
            <a:pPr indent="-174905" defTabSz="62188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dirty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int-of-care accessible electronic maternity records, enabling consistent capture and movement of maternity informa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B563F8B3-D4B5-0648-950B-479F18F56BBD}"/>
              </a:ext>
            </a:extLst>
          </p:cNvPr>
          <p:cNvSpPr/>
          <p:nvPr/>
        </p:nvSpPr>
        <p:spPr>
          <a:xfrm>
            <a:off x="1835696" y="3003798"/>
            <a:ext cx="637163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indent="-174905" defTabSz="62188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 maturity</a:t>
            </a:r>
          </a:p>
          <a:p>
            <a:pPr marL="0" lvl="1" indent="-174905" defTabSz="62188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dirty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a supportive framework for growing digital maturity and capability in Maternity Servic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64A7722B-8355-C744-ABFC-0E2F5C24FF52}"/>
              </a:ext>
            </a:extLst>
          </p:cNvPr>
          <p:cNvSpPr/>
          <p:nvPr/>
        </p:nvSpPr>
        <p:spPr>
          <a:xfrm>
            <a:off x="1835696" y="4017545"/>
            <a:ext cx="637163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2188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b="1" dirty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onal Health Records</a:t>
            </a:r>
            <a:r>
              <a:rPr lang="en-GB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600" dirty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interface with the woman’s electronic maternity record, so that she can access her information</a:t>
            </a:r>
          </a:p>
        </p:txBody>
      </p:sp>
      <p:sp>
        <p:nvSpPr>
          <p:cNvPr id="21" name="AutoShape 4" descr="Image result for information icon">
            <a:extLst>
              <a:ext uri="{FF2B5EF4-FFF2-40B4-BE49-F238E27FC236}">
                <a16:creationId xmlns="" xmlns:a16="http://schemas.microsoft.com/office/drawing/2014/main" id="{B66D9572-5AA2-8B46-8359-71231D659AA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941763" y="1947863"/>
            <a:ext cx="206375" cy="207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62189" tIns="31094" rIns="62189" bIns="31094"/>
          <a:lstStyle/>
          <a:p>
            <a:pPr defTabSz="62188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224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="" xmlns:a16="http://schemas.microsoft.com/office/drawing/2014/main" id="{83A7A67B-F0D9-8D43-8499-734AB77207D2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35520" y="2156678"/>
            <a:ext cx="643216" cy="632865"/>
          </a:xfrm>
          <a:prstGeom prst="rect">
            <a:avLst/>
          </a:prstGeom>
          <a:noFill/>
          <a:ln>
            <a:noFill/>
          </a:ln>
          <a:effectLst>
            <a:outerShdw blurRad="50800" dist="50800" dir="5400000" algn="ctr" rotWithShape="0">
              <a:schemeClr val="bg1"/>
            </a:outerShdw>
          </a:effectLst>
        </p:spPr>
      </p:pic>
      <p:grpSp>
        <p:nvGrpSpPr>
          <p:cNvPr id="24" name="Group 4">
            <a:extLst>
              <a:ext uri="{FF2B5EF4-FFF2-40B4-BE49-F238E27FC236}">
                <a16:creationId xmlns="" xmlns:a16="http://schemas.microsoft.com/office/drawing/2014/main" id="{54ADB160-2EDF-BE4D-AD7F-949385E0765D}"/>
              </a:ext>
            </a:extLst>
          </p:cNvPr>
          <p:cNvGrpSpPr>
            <a:grpSpLocks/>
          </p:cNvGrpSpPr>
          <p:nvPr/>
        </p:nvGrpSpPr>
        <p:grpSpPr bwMode="auto">
          <a:xfrm>
            <a:off x="847091" y="3026580"/>
            <a:ext cx="773859" cy="773860"/>
            <a:chOff x="362301" y="4584844"/>
            <a:chExt cx="945799" cy="945799"/>
          </a:xfrm>
        </p:grpSpPr>
        <p:pic>
          <p:nvPicPr>
            <p:cNvPr id="25" name="Picture 2" descr="Related image">
              <a:extLst>
                <a:ext uri="{FF2B5EF4-FFF2-40B4-BE49-F238E27FC236}">
                  <a16:creationId xmlns="" xmlns:a16="http://schemas.microsoft.com/office/drawing/2014/main" id="{716150B2-78DC-B040-A035-8F1DCC759A2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2301" y="4584844"/>
              <a:ext cx="945799" cy="9457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25">
              <a:extLst>
                <a:ext uri="{FF2B5EF4-FFF2-40B4-BE49-F238E27FC236}">
                  <a16:creationId xmlns="" xmlns:a16="http://schemas.microsoft.com/office/drawing/2014/main" id="{CA9E1E03-044A-E24A-B134-5B9D96B3F59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duotone>
                <a:prstClr val="black"/>
                <a:srgbClr val="FF99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552" t="22576" r="18483" b="21052"/>
            <a:stretch/>
          </p:blipFill>
          <p:spPr>
            <a:xfrm>
              <a:off x="621873" y="4662310"/>
              <a:ext cx="457200" cy="492148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AD43EE11-08F7-4D15-9E70-36DD67DAAC6C}"/>
              </a:ext>
            </a:extLst>
          </p:cNvPr>
          <p:cNvGrpSpPr/>
          <p:nvPr/>
        </p:nvGrpSpPr>
        <p:grpSpPr>
          <a:xfrm>
            <a:off x="1043609" y="4011910"/>
            <a:ext cx="381567" cy="763135"/>
            <a:chOff x="910506" y="4176713"/>
            <a:chExt cx="421134" cy="842269"/>
          </a:xfrm>
        </p:grpSpPr>
        <p:grpSp>
          <p:nvGrpSpPr>
            <p:cNvPr id="12" name="Group 55">
              <a:extLst>
                <a:ext uri="{FF2B5EF4-FFF2-40B4-BE49-F238E27FC236}">
                  <a16:creationId xmlns="" xmlns:a16="http://schemas.microsoft.com/office/drawing/2014/main" id="{8D7E04DE-9A11-6B43-970B-26091DE236F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10506" y="4176713"/>
              <a:ext cx="421134" cy="842269"/>
              <a:chOff x="3978274" y="2348880"/>
              <a:chExt cx="1158818" cy="2043356"/>
            </a:xfrm>
          </p:grpSpPr>
          <p:pic>
            <p:nvPicPr>
              <p:cNvPr id="13" name="Picture 12" descr="Image result for mobile phone logo">
                <a:extLst>
                  <a:ext uri="{FF2B5EF4-FFF2-40B4-BE49-F238E27FC236}">
                    <a16:creationId xmlns="" xmlns:a16="http://schemas.microsoft.com/office/drawing/2014/main" id="{3F3547CC-7BB4-1B47-AF0C-D2DED30D117A}"/>
                  </a:ext>
                </a:extLst>
              </p:cNvPr>
              <p:cNvPicPr/>
              <p:nvPr/>
            </p:nvPicPr>
            <p:blipFill>
              <a:blip r:embed="rId7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978274" y="2348880"/>
                <a:ext cx="1158818" cy="2043356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4" name="Picture 13" descr="Image result for NHS logo">
                <a:extLst>
                  <a:ext uri="{FF2B5EF4-FFF2-40B4-BE49-F238E27FC236}">
                    <a16:creationId xmlns="" xmlns:a16="http://schemas.microsoft.com/office/drawing/2014/main" id="{6A862A81-F13D-B349-AA7D-B72145DFCF3C}"/>
                  </a:ext>
                </a:extLst>
              </p:cNvPr>
              <p:cNvPicPr/>
              <p:nvPr/>
            </p:nvPicPr>
            <p:blipFill>
              <a:blip r:embed="rId8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23968" y="2708920"/>
                <a:ext cx="867429" cy="346868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5" name="Picture 2">
                <a:extLst>
                  <a:ext uri="{FF2B5EF4-FFF2-40B4-BE49-F238E27FC236}">
                    <a16:creationId xmlns="" xmlns:a16="http://schemas.microsoft.com/office/drawing/2014/main" id="{270CC90B-E645-794B-BAC4-E93655B8EBF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02078" y="3212976"/>
                <a:ext cx="311208" cy="7543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27" name="Picture 26">
              <a:extLst>
                <a:ext uri="{FF2B5EF4-FFF2-40B4-BE49-F238E27FC236}">
                  <a16:creationId xmlns="" xmlns:a16="http://schemas.microsoft.com/office/drawing/2014/main" id="{33F940E0-2EE9-4846-BA96-F3237AFFDC7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694" r="24340"/>
            <a:stretch/>
          </p:blipFill>
          <p:spPr>
            <a:xfrm>
              <a:off x="965747" y="4291018"/>
              <a:ext cx="337415" cy="547888"/>
            </a:xfrm>
            <a:prstGeom prst="rect">
              <a:avLst/>
            </a:prstGeom>
            <a:solidFill>
              <a:srgbClr val="FFC000"/>
            </a:solidFill>
          </p:spPr>
        </p:pic>
      </p:grpSp>
      <p:pic>
        <p:nvPicPr>
          <p:cNvPr id="4" name="Picture 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151" y="1089733"/>
            <a:ext cx="905953" cy="90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772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791580" y="313990"/>
            <a:ext cx="7632000" cy="529568"/>
          </a:xfrm>
        </p:spPr>
        <p:txBody>
          <a:bodyPr>
            <a:normAutofit/>
          </a:bodyPr>
          <a:lstStyle/>
          <a:p>
            <a:r>
              <a:rPr lang="en-GB" sz="3000" dirty="0"/>
              <a:t>What’s next?</a:t>
            </a:r>
            <a:endParaRPr lang="en-US" sz="3000" dirty="0"/>
          </a:p>
        </p:txBody>
      </p:sp>
      <p:sp>
        <p:nvSpPr>
          <p:cNvPr id="33" name="Shape 88">
            <a:extLst>
              <a:ext uri="{FF2B5EF4-FFF2-40B4-BE49-F238E27FC236}">
                <a16:creationId xmlns="" xmlns:a16="http://schemas.microsoft.com/office/drawing/2014/main" id="{EBD6441C-C82E-2E41-A5F3-59DE3A53CF46}"/>
              </a:ext>
            </a:extLst>
          </p:cNvPr>
          <p:cNvSpPr/>
          <p:nvPr/>
        </p:nvSpPr>
        <p:spPr>
          <a:xfrm>
            <a:off x="0" y="0"/>
            <a:ext cx="9144000" cy="9941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82283" tIns="82283" rIns="82283" bIns="82283" anchor="ctr" anchorCtr="0">
            <a:noAutofit/>
          </a:bodyPr>
          <a:lstStyle/>
          <a:p>
            <a:pPr defTabSz="822960">
              <a:buClr>
                <a:srgbClr val="000000"/>
              </a:buClr>
            </a:pPr>
            <a:endParaRPr sz="126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5" name="Title 2">
            <a:extLst>
              <a:ext uri="{FF2B5EF4-FFF2-40B4-BE49-F238E27FC236}">
                <a16:creationId xmlns="" xmlns:a16="http://schemas.microsoft.com/office/drawing/2014/main" id="{E20E95F6-9754-5C4C-A960-FEB9BB0E9F38}"/>
              </a:ext>
            </a:extLst>
          </p:cNvPr>
          <p:cNvSpPr txBox="1">
            <a:spLocks/>
          </p:cNvSpPr>
          <p:nvPr/>
        </p:nvSpPr>
        <p:spPr>
          <a:xfrm>
            <a:off x="450831" y="0"/>
            <a:ext cx="7632000" cy="93609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rmAutofit/>
          </a:bodyPr>
          <a:lstStyle>
            <a:lvl1pPr marR="0" lvl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Font typeface="Open Sans"/>
              <a:buNone/>
              <a:defRPr sz="2700" b="1" i="0" u="none" strike="noStrike" kern="1200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9pPr>
          </a:lstStyle>
          <a:p>
            <a:r>
              <a:rPr lang="en-GB" dirty="0">
                <a:solidFill>
                  <a:schemeClr val="bg1"/>
                </a:solidFill>
              </a:rPr>
              <a:t>Personal Health Records for maternity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6" name="Content Placeholder 2">
            <a:extLst>
              <a:ext uri="{FF2B5EF4-FFF2-40B4-BE49-F238E27FC236}">
                <a16:creationId xmlns="" xmlns:a16="http://schemas.microsoft.com/office/drawing/2014/main" id="{72C7CDCE-2BE2-424B-83E3-2A88807FC44E}"/>
              </a:ext>
            </a:extLst>
          </p:cNvPr>
          <p:cNvSpPr txBox="1">
            <a:spLocks/>
          </p:cNvSpPr>
          <p:nvPr/>
        </p:nvSpPr>
        <p:spPr>
          <a:xfrm>
            <a:off x="720000" y="1224016"/>
            <a:ext cx="4500072" cy="3435966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t" anchorCtr="0">
            <a:normAutofit lnSpcReduction="10000"/>
          </a:bodyPr>
          <a:lstStyle>
            <a:lvl1pPr marL="411480" marR="0" lvl="0" indent="-342900" algn="l" defTabSz="914400" rtl="0" eaLnBrk="1" latinLnBrk="0" hangingPunct="1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Char char="•"/>
              <a:defRPr sz="2160" b="0" i="0" u="none" strike="noStrike" kern="1200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822960" marR="0" lvl="1" indent="-325755" algn="l" defTabSz="914400" rtl="0" eaLnBrk="1" latinLnBrk="0" hangingPunct="1">
              <a:lnSpc>
                <a:spcPct val="100000"/>
              </a:lnSpc>
              <a:spcBef>
                <a:spcPts val="378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Arial"/>
              <a:buChar char="–"/>
              <a:defRPr sz="1890" b="0" i="0" u="none" strike="noStrike" kern="1200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234440" marR="0" lvl="2" indent="-308610" algn="l" defTabSz="914400" rtl="0" eaLnBrk="1" latinLnBrk="0" hangingPunct="1">
              <a:lnSpc>
                <a:spcPct val="100000"/>
              </a:lnSpc>
              <a:spcBef>
                <a:spcPts val="324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Noto Sans Symbols"/>
              <a:buChar char="▪"/>
              <a:defRPr sz="1620" b="0" i="0" u="none" strike="noStrike" kern="1200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45920" marR="0" lvl="3" indent="-325755" algn="l" defTabSz="914400" rtl="0" eaLnBrk="1" latinLnBrk="0" hangingPunct="1">
              <a:lnSpc>
                <a:spcPct val="100000"/>
              </a:lnSpc>
              <a:spcBef>
                <a:spcPts val="378"/>
              </a:spcBef>
              <a:spcAft>
                <a:spcPts val="0"/>
              </a:spcAft>
              <a:buClr>
                <a:schemeClr val="accent1"/>
              </a:buClr>
              <a:buSzPts val="2100"/>
              <a:buFont typeface="Arial"/>
              <a:buChar char="–"/>
              <a:defRPr sz="1890" b="0" i="0" u="none" strike="noStrike" kern="120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lvl="4" indent="-305753" algn="l" defTabSz="914400" rtl="0" eaLnBrk="1" latinLnBrk="0" hangingPunct="1">
              <a:lnSpc>
                <a:spcPct val="100000"/>
              </a:lnSpc>
              <a:spcBef>
                <a:spcPts val="315"/>
              </a:spcBef>
              <a:spcAft>
                <a:spcPts val="0"/>
              </a:spcAft>
              <a:buClr>
                <a:schemeClr val="accent1"/>
              </a:buClr>
              <a:buSzPts val="1750"/>
              <a:buFont typeface="Arial"/>
              <a:buChar char="»"/>
              <a:defRPr sz="1575" b="0" i="0" u="none" strike="noStrike" kern="120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468880" marR="0" lvl="5" indent="-320040" algn="l" defTabSz="914400" rtl="0" eaLnBrk="1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880360" marR="0" lvl="6" indent="-320040" algn="l" defTabSz="914400" rtl="0" eaLnBrk="1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91840" marR="0" lvl="7" indent="-320040" algn="l" defTabSz="914400" rtl="0" eaLnBrk="1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703320" marR="0" lvl="8" indent="-320040" algn="l" defTabSz="914400" rtl="0" eaLnBrk="1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defTabSz="1219170">
              <a:lnSpc>
                <a:spcPct val="150000"/>
              </a:lnSpc>
              <a:buFont typeface="Arial"/>
              <a:buNone/>
            </a:pPr>
            <a:r>
              <a:rPr lang="en-US" altLang="en-US" sz="1800" dirty="0">
                <a:solidFill>
                  <a:srgbClr val="005EB8"/>
                </a:solidFill>
                <a:latin typeface="Arial" panose="020B0604020202020204" pitchFamily="34" charset="0"/>
              </a:rPr>
              <a:t>Maternity records that are validated by the woman and consistent across care settings</a:t>
            </a:r>
          </a:p>
          <a:p>
            <a:pPr marL="0" indent="0" defTabSz="1219170">
              <a:lnSpc>
                <a:spcPct val="150000"/>
              </a:lnSpc>
              <a:buFont typeface="Arial"/>
              <a:buNone/>
            </a:pPr>
            <a:endParaRPr lang="en-US" altLang="en-US" sz="1050" dirty="0">
              <a:solidFill>
                <a:srgbClr val="005EB8"/>
              </a:solidFill>
              <a:latin typeface="Arial" panose="020B0604020202020204" pitchFamily="34" charset="0"/>
            </a:endParaRPr>
          </a:p>
          <a:p>
            <a:pPr defTabSz="1219170">
              <a:lnSpc>
                <a:spcPct val="150000"/>
              </a:lnSpc>
            </a:pPr>
            <a:r>
              <a:rPr lang="en-GB" sz="1800" b="1" dirty="0">
                <a:solidFill>
                  <a:srgbClr val="005EB8"/>
                </a:solidFill>
              </a:rPr>
              <a:t>19</a:t>
            </a:r>
            <a:r>
              <a:rPr lang="en-GB" sz="1800" dirty="0">
                <a:solidFill>
                  <a:srgbClr val="005EB8"/>
                </a:solidFill>
              </a:rPr>
              <a:t> adoption areas </a:t>
            </a:r>
          </a:p>
          <a:p>
            <a:pPr defTabSz="1219170">
              <a:lnSpc>
                <a:spcPct val="150000"/>
              </a:lnSpc>
            </a:pPr>
            <a:r>
              <a:rPr lang="en-GB" sz="1800" dirty="0">
                <a:solidFill>
                  <a:srgbClr val="005EB8"/>
                </a:solidFill>
              </a:rPr>
              <a:t>Covering up to </a:t>
            </a:r>
            <a:r>
              <a:rPr lang="en-GB" sz="1800" b="1" dirty="0">
                <a:solidFill>
                  <a:srgbClr val="005EB8"/>
                </a:solidFill>
              </a:rPr>
              <a:t>171,000</a:t>
            </a:r>
            <a:r>
              <a:rPr lang="en-GB" sz="1800" dirty="0">
                <a:solidFill>
                  <a:srgbClr val="005EB8"/>
                </a:solidFill>
              </a:rPr>
              <a:t> women</a:t>
            </a:r>
          </a:p>
          <a:p>
            <a:pPr defTabSz="1219170">
              <a:lnSpc>
                <a:spcPct val="150000"/>
              </a:lnSpc>
            </a:pPr>
            <a:r>
              <a:rPr lang="en-GB" sz="1800" dirty="0">
                <a:solidFill>
                  <a:srgbClr val="005EB8"/>
                </a:solidFill>
              </a:rPr>
              <a:t>Usage risen from </a:t>
            </a:r>
            <a:r>
              <a:rPr lang="en-GB" sz="1800" b="1" dirty="0">
                <a:solidFill>
                  <a:srgbClr val="005EB8"/>
                </a:solidFill>
              </a:rPr>
              <a:t>0.1%</a:t>
            </a:r>
            <a:r>
              <a:rPr lang="en-GB" sz="1800" dirty="0">
                <a:solidFill>
                  <a:srgbClr val="005EB8"/>
                </a:solidFill>
              </a:rPr>
              <a:t> to </a:t>
            </a:r>
            <a:r>
              <a:rPr lang="en-GB" sz="1800" b="1" dirty="0">
                <a:solidFill>
                  <a:srgbClr val="005EB8"/>
                </a:solidFill>
              </a:rPr>
              <a:t>25%</a:t>
            </a:r>
            <a:r>
              <a:rPr lang="en-GB" sz="1800" dirty="0">
                <a:solidFill>
                  <a:srgbClr val="005EB8"/>
                </a:solidFill>
              </a:rPr>
              <a:t> of women in England who give birth</a:t>
            </a:r>
          </a:p>
          <a:p>
            <a:pPr defTabSz="1219170">
              <a:lnSpc>
                <a:spcPct val="150000"/>
              </a:lnSpc>
            </a:pPr>
            <a:endParaRPr lang="en-GB" sz="1800" dirty="0"/>
          </a:p>
        </p:txBody>
      </p:sp>
      <p:pic>
        <p:nvPicPr>
          <p:cNvPr id="37" name="Picture 36">
            <a:extLst>
              <a:ext uri="{FF2B5EF4-FFF2-40B4-BE49-F238E27FC236}">
                <a16:creationId xmlns="" xmlns:a16="http://schemas.microsoft.com/office/drawing/2014/main" id="{8B8F0FE7-71F8-684C-B117-0693AA1EF6A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4143" t="27188" r="17523" b="18750"/>
          <a:stretch/>
        </p:blipFill>
        <p:spPr>
          <a:xfrm>
            <a:off x="5654429" y="1203598"/>
            <a:ext cx="2769571" cy="3523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316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415BAD51-6F38-49A7-9FD6-173FF7AA6DDC}"/>
              </a:ext>
            </a:extLst>
          </p:cNvPr>
          <p:cNvSpPr/>
          <p:nvPr/>
        </p:nvSpPr>
        <p:spPr>
          <a:xfrm>
            <a:off x="-24713" y="886598"/>
            <a:ext cx="9224318" cy="425844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0000" y="1203598"/>
            <a:ext cx="5220000" cy="3435966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GB" sz="1800" b="1" dirty="0">
                <a:solidFill>
                  <a:srgbClr val="FFFFFF"/>
                </a:solidFill>
              </a:rPr>
              <a:t>We’re working closely with</a:t>
            </a:r>
            <a:r>
              <a:rPr lang="en-GB" sz="1800" b="1" dirty="0">
                <a:solidFill>
                  <a:srgbClr val="424D58"/>
                </a:solidFill>
              </a:rPr>
              <a:t> </a:t>
            </a:r>
            <a:r>
              <a:rPr lang="en-GB" sz="1800" b="1" dirty="0">
                <a:solidFill>
                  <a:srgbClr val="FFC000"/>
                </a:solidFill>
              </a:rPr>
              <a:t>users </a:t>
            </a:r>
            <a:r>
              <a:rPr lang="en-GB" sz="1800" b="1" dirty="0">
                <a:solidFill>
                  <a:srgbClr val="FFFFFF"/>
                </a:solidFill>
              </a:rPr>
              <a:t>to solve real problems</a:t>
            </a:r>
            <a:endParaRPr lang="en-US">
              <a:solidFill>
                <a:srgbClr val="FFFFFF"/>
              </a:solidFill>
              <a:cs typeface="Arial"/>
            </a:endParaRPr>
          </a:p>
          <a:p>
            <a:endParaRPr lang="en-GB" sz="1800" b="1" dirty="0">
              <a:solidFill>
                <a:srgbClr val="FFFF00"/>
              </a:solidFill>
              <a:cs typeface="Arial"/>
            </a:endParaRPr>
          </a:p>
          <a:p>
            <a:r>
              <a:rPr lang="en-GB" sz="1800" b="1" dirty="0">
                <a:solidFill>
                  <a:srgbClr val="FFFFFF"/>
                </a:solidFill>
              </a:rPr>
              <a:t>We are opening up to</a:t>
            </a:r>
            <a:r>
              <a:rPr lang="en-GB" sz="1800" b="1" dirty="0">
                <a:solidFill>
                  <a:srgbClr val="424D58"/>
                </a:solidFill>
              </a:rPr>
              <a:t> </a:t>
            </a:r>
            <a:r>
              <a:rPr lang="en-GB" sz="1800" b="1" dirty="0">
                <a:solidFill>
                  <a:srgbClr val="FFC000"/>
                </a:solidFill>
              </a:rPr>
              <a:t>outside expertise and developers</a:t>
            </a:r>
            <a:endParaRPr lang="en-GB" sz="1800" b="1" dirty="0">
              <a:solidFill>
                <a:srgbClr val="FFC000"/>
              </a:solidFill>
              <a:cs typeface="Arial"/>
            </a:endParaRPr>
          </a:p>
          <a:p>
            <a:pPr marL="0" indent="0">
              <a:buNone/>
            </a:pPr>
            <a:endParaRPr lang="en-GB" sz="1800" b="1" dirty="0">
              <a:solidFill>
                <a:srgbClr val="424D58"/>
              </a:solidFill>
              <a:cs typeface="Arial"/>
            </a:endParaRPr>
          </a:p>
          <a:p>
            <a:r>
              <a:rPr lang="en-GB" sz="1800" b="1" dirty="0">
                <a:solidFill>
                  <a:srgbClr val="FFFFFF"/>
                </a:solidFill>
              </a:rPr>
              <a:t>We’re ensuring we have excellent</a:t>
            </a:r>
            <a:r>
              <a:rPr lang="en-GB" sz="1800" b="1" dirty="0">
                <a:solidFill>
                  <a:srgbClr val="424D58"/>
                </a:solidFill>
              </a:rPr>
              <a:t> </a:t>
            </a:r>
            <a:r>
              <a:rPr lang="en-GB" sz="1800" b="1" dirty="0">
                <a:solidFill>
                  <a:srgbClr val="FFC000"/>
                </a:solidFill>
              </a:rPr>
              <a:t>standards and core systems</a:t>
            </a:r>
            <a:endParaRPr lang="en-GB" sz="1800" b="1" dirty="0">
              <a:solidFill>
                <a:srgbClr val="FFC000"/>
              </a:solidFill>
              <a:cs typeface="Arial"/>
            </a:endParaRPr>
          </a:p>
          <a:p>
            <a:endParaRPr lang="en-GB" sz="1800" b="1" dirty="0">
              <a:solidFill>
                <a:srgbClr val="424D58"/>
              </a:solidFill>
              <a:cs typeface="Arial"/>
            </a:endParaRPr>
          </a:p>
          <a:p>
            <a:r>
              <a:rPr lang="en-GB" sz="1800" b="1" dirty="0">
                <a:solidFill>
                  <a:srgbClr val="FFFFFF"/>
                </a:solidFill>
              </a:rPr>
              <a:t>We’re working in an </a:t>
            </a:r>
            <a:r>
              <a:rPr lang="en-GB" sz="1800" b="1" dirty="0">
                <a:solidFill>
                  <a:srgbClr val="FFC000"/>
                </a:solidFill>
              </a:rPr>
              <a:t>open and agile way</a:t>
            </a:r>
            <a:r>
              <a:rPr lang="en-GB" sz="1800" b="1" dirty="0">
                <a:solidFill>
                  <a:srgbClr val="424D58"/>
                </a:solidFill>
              </a:rPr>
              <a:t>, </a:t>
            </a:r>
            <a:r>
              <a:rPr lang="en-GB" sz="1800" b="1" dirty="0">
                <a:solidFill>
                  <a:srgbClr val="FFFFFF"/>
                </a:solidFill>
              </a:rPr>
              <a:t>trialling and adapting</a:t>
            </a:r>
            <a:endParaRPr lang="en-GB" sz="1800" b="1" dirty="0">
              <a:solidFill>
                <a:srgbClr val="FFFFFF"/>
              </a:solidFill>
              <a:cs typeface="Arial"/>
            </a:endParaRPr>
          </a:p>
          <a:p>
            <a:endParaRPr lang="en-GB" sz="1800" b="1" dirty="0">
              <a:solidFill>
                <a:srgbClr val="424D58"/>
              </a:solidFill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0AA684-6FB9-400F-B313-F111F0F48737}" type="slidenum">
              <a:rPr lang="en-GB" smtClean="0">
                <a:solidFill>
                  <a:srgbClr val="FFFFFF"/>
                </a:solidFill>
              </a:rPr>
              <a:pPr/>
              <a:t>36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6213060" y="1779662"/>
            <a:ext cx="2448272" cy="2577642"/>
          </a:xfrm>
          <a:prstGeom prst="roundRect">
            <a:avLst>
              <a:gd name="adj" fmla="val 6453"/>
            </a:avLst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8455" y="1808483"/>
            <a:ext cx="2517482" cy="2520000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Getting it righ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0977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0000" y="1368032"/>
            <a:ext cx="7092360" cy="343596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/>
              <a:t>Email: </a:t>
            </a:r>
            <a:r>
              <a:rPr lang="en-GB" b="1" dirty="0">
                <a:solidFill>
                  <a:srgbClr val="FAE100"/>
                </a:solidFill>
              </a:rPr>
              <a:t>england.digitalhealth@nhs.net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 smtClean="0"/>
              <a:t>Online</a:t>
            </a:r>
            <a:r>
              <a:rPr lang="en-GB" dirty="0"/>
              <a:t>: </a:t>
            </a:r>
            <a:r>
              <a:rPr lang="en-GB" b="1" dirty="0">
                <a:solidFill>
                  <a:srgbClr val="FAE100"/>
                </a:solidFill>
              </a:rPr>
              <a:t>england.nhs.uk/</a:t>
            </a:r>
            <a:r>
              <a:rPr lang="en-GB" b="1" dirty="0" err="1">
                <a:solidFill>
                  <a:srgbClr val="FAE100"/>
                </a:solidFill>
              </a:rPr>
              <a:t>empoweringpeople</a:t>
            </a:r>
            <a:endParaRPr lang="en-GB" b="1" dirty="0">
              <a:solidFill>
                <a:srgbClr val="FAE100"/>
              </a:solidFill>
            </a:endParaRP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Blog: </a:t>
            </a:r>
            <a:r>
              <a:rPr lang="en-GB" b="1" dirty="0">
                <a:solidFill>
                  <a:srgbClr val="FAE100"/>
                </a:solidFill>
              </a:rPr>
              <a:t>transformation.blog.nhs.u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0AA684-6FB9-400F-B313-F111F0F48737}" type="slidenum">
              <a:rPr lang="en-GB" smtClean="0">
                <a:solidFill>
                  <a:srgbClr val="FFFFFF"/>
                </a:solidFill>
              </a:rPr>
              <a:pPr/>
              <a:t>37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ep in touch with us</a:t>
            </a:r>
          </a:p>
        </p:txBody>
      </p:sp>
    </p:spTree>
    <p:extLst>
      <p:ext uri="{BB962C8B-B14F-4D97-AF65-F5344CB8AC3E}">
        <p14:creationId xmlns:p14="http://schemas.microsoft.com/office/powerpoint/2010/main" val="2495623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0AA684-6FB9-400F-B313-F111F0F48737}" type="slidenum">
              <a:rPr lang="en-GB" smtClean="0">
                <a:solidFill>
                  <a:srgbClr val="FFFFFF"/>
                </a:solidFill>
              </a:rPr>
              <a:pPr/>
              <a:t>4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60000" y="360000"/>
            <a:ext cx="7956464" cy="529568"/>
          </a:xfrm>
        </p:spPr>
        <p:txBody>
          <a:bodyPr/>
          <a:lstStyle/>
          <a:p>
            <a:r>
              <a:rPr lang="en-GB" dirty="0"/>
              <a:t>The challenge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1043608" y="1779662"/>
            <a:ext cx="5282081" cy="765342"/>
          </a:xfrm>
          <a:prstGeom prst="roundRect">
            <a:avLst>
              <a:gd name="adj" fmla="val 7597"/>
            </a:avLst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GB" sz="2800" b="1" dirty="0">
                <a:solidFill>
                  <a:srgbClr val="FFC000"/>
                </a:solidFill>
              </a:rPr>
              <a:t>We’re getting healthier, but </a:t>
            </a:r>
            <a:r>
              <a:rPr lang="en-GB" sz="2800" b="1" dirty="0" smtClean="0">
                <a:solidFill>
                  <a:srgbClr val="FFC000"/>
                </a:solidFill>
              </a:rPr>
              <a:t>we’re </a:t>
            </a:r>
            <a:r>
              <a:rPr lang="en-GB" sz="2800" b="1" dirty="0">
                <a:solidFill>
                  <a:srgbClr val="FFC000"/>
                </a:solidFill>
              </a:rPr>
              <a:t>using the NHS more</a:t>
            </a:r>
            <a:r>
              <a:rPr lang="en-GB" sz="2400" b="1" dirty="0">
                <a:solidFill>
                  <a:srgbClr val="FFC000"/>
                </a:solidFill>
              </a:rPr>
              <a:t>…</a:t>
            </a:r>
            <a:endParaRPr lang="en-GB" sz="2400" b="1" dirty="0">
              <a:solidFill>
                <a:srgbClr val="FFC000"/>
              </a:solidFill>
              <a:cs typeface="Arial"/>
            </a:endParaRPr>
          </a:p>
          <a:p>
            <a:pPr>
              <a:defRPr/>
            </a:pPr>
            <a:endParaRPr lang="en-GB" sz="2400" dirty="0">
              <a:solidFill>
                <a:srgbClr val="FFFF00"/>
              </a:solidFill>
            </a:endParaRPr>
          </a:p>
        </p:txBody>
      </p:sp>
      <p:pic>
        <p:nvPicPr>
          <p:cNvPr id="9219" name="Picture 3" descr="G:\NHS CB\P&amp;I\12 Communications\Strategic Comms\Paperless 2020 Comms\Images\expand_grow_whit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7697" y="2711568"/>
            <a:ext cx="967184" cy="895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1872193" y="2697763"/>
            <a:ext cx="5258534" cy="954107"/>
          </a:xfrm>
          <a:prstGeom prst="rect">
            <a:avLst/>
          </a:prstGeom>
          <a:solidFill>
            <a:srgbClr val="005EB8"/>
          </a:solidFill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n-GB" sz="2800" b="1" dirty="0">
                <a:solidFill>
                  <a:schemeClr val="bg1"/>
                </a:solidFill>
              </a:rPr>
              <a:t>…the need for modern NHS care continues to grow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115333" y="3920157"/>
            <a:ext cx="32730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dirty="0">
                <a:solidFill>
                  <a:schemeClr val="bg1"/>
                </a:solidFill>
              </a:rPr>
              <a:t>Five Year Forward View Next Steps</a:t>
            </a:r>
          </a:p>
        </p:txBody>
      </p:sp>
    </p:spTree>
    <p:extLst>
      <p:ext uri="{BB962C8B-B14F-4D97-AF65-F5344CB8AC3E}">
        <p14:creationId xmlns:p14="http://schemas.microsoft.com/office/powerpoint/2010/main" val="1045018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Elbow Connector 15"/>
          <p:cNvCxnSpPr/>
          <p:nvPr/>
        </p:nvCxnSpPr>
        <p:spPr>
          <a:xfrm rot="5400000" flipH="1" flipV="1">
            <a:off x="3353103" y="2830887"/>
            <a:ext cx="671963" cy="540000"/>
          </a:xfrm>
          <a:prstGeom prst="bentConnector2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ounded Rectangle 7"/>
          <p:cNvSpPr/>
          <p:nvPr/>
        </p:nvSpPr>
        <p:spPr>
          <a:xfrm>
            <a:off x="5652120" y="2321356"/>
            <a:ext cx="2952328" cy="610434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GB" b="1" dirty="0">
                <a:solidFill>
                  <a:srgbClr val="005EB8"/>
                </a:solidFill>
              </a:rPr>
              <a:t>Reduce costs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1403647" y="3651870"/>
            <a:ext cx="4032449" cy="864096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GB" b="1" dirty="0">
                <a:solidFill>
                  <a:srgbClr val="005EB8"/>
                </a:solidFill>
              </a:rPr>
              <a:t>Improve patient knowledge and control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83568" y="771550"/>
            <a:ext cx="4014334" cy="864096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n-GB" sz="2000" b="1" dirty="0">
                <a:solidFill>
                  <a:srgbClr val="005EB8"/>
                </a:solidFill>
              </a:rPr>
              <a:t>Deliver better health outcomes for patient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="" xmlns:a16="http://schemas.microsoft.com/office/drawing/2014/main" id="{DC194F93-F399-4CB2-A078-DBB7F7040A23}"/>
              </a:ext>
            </a:extLst>
          </p:cNvPr>
          <p:cNvGrpSpPr/>
          <p:nvPr/>
        </p:nvGrpSpPr>
        <p:grpSpPr>
          <a:xfrm>
            <a:off x="3851920" y="1923678"/>
            <a:ext cx="1368152" cy="1368152"/>
            <a:chOff x="3923928" y="1978717"/>
            <a:chExt cx="1368152" cy="1368152"/>
          </a:xfrm>
        </p:grpSpPr>
        <p:cxnSp>
          <p:nvCxnSpPr>
            <p:cNvPr id="33" name="Elbow Connector 32"/>
            <p:cNvCxnSpPr>
              <a:cxnSpLocks/>
            </p:cNvCxnSpPr>
            <p:nvPr/>
          </p:nvCxnSpPr>
          <p:spPr>
            <a:xfrm rot="16200000" flipV="1">
              <a:off x="4877421" y="2236992"/>
              <a:ext cx="187600" cy="120066"/>
            </a:xfrm>
            <a:prstGeom prst="bentConnector3">
              <a:avLst>
                <a:gd name="adj1" fmla="val 50000"/>
              </a:avLst>
            </a:prstGeom>
            <a:ln w="19050">
              <a:solidFill>
                <a:srgbClr val="FFB81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Oval 4"/>
            <p:cNvSpPr/>
            <p:nvPr/>
          </p:nvSpPr>
          <p:spPr>
            <a:xfrm rot="10800000">
              <a:off x="3923928" y="1978717"/>
              <a:ext cx="1368152" cy="136815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FB8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13926" y="2068716"/>
              <a:ext cx="1140127" cy="1140127"/>
            </a:xfrm>
            <a:prstGeom prst="rect">
              <a:avLst/>
            </a:prstGeom>
            <a:ln>
              <a:noFill/>
            </a:ln>
          </p:spPr>
        </p:pic>
      </p:grpSp>
      <p:cxnSp>
        <p:nvCxnSpPr>
          <p:cNvPr id="13" name="Connector: Elbow 12">
            <a:extLst>
              <a:ext uri="{FF2B5EF4-FFF2-40B4-BE49-F238E27FC236}">
                <a16:creationId xmlns="" xmlns:a16="http://schemas.microsoft.com/office/drawing/2014/main" id="{AF00CCF9-2334-447C-A5CD-15BA37AFB327}"/>
              </a:ext>
            </a:extLst>
          </p:cNvPr>
          <p:cNvCxnSpPr>
            <a:stCxn id="11" idx="2"/>
            <a:endCxn id="5" idx="6"/>
          </p:cNvCxnSpPr>
          <p:nvPr/>
        </p:nvCxnSpPr>
        <p:spPr>
          <a:xfrm rot="16200000" flipH="1">
            <a:off x="2785273" y="1541107"/>
            <a:ext cx="972108" cy="1161185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="" xmlns:a16="http://schemas.microsoft.com/office/drawing/2014/main" id="{AB279A1D-F491-4FE6-9A42-3ABE510F1F7C}"/>
              </a:ext>
            </a:extLst>
          </p:cNvPr>
          <p:cNvCxnSpPr>
            <a:stCxn id="5" idx="0"/>
            <a:endCxn id="10" idx="0"/>
          </p:cNvCxnSpPr>
          <p:nvPr/>
        </p:nvCxnSpPr>
        <p:spPr>
          <a:xfrm rot="5400000">
            <a:off x="3797914" y="2913788"/>
            <a:ext cx="360040" cy="1116124"/>
          </a:xfrm>
          <a:prstGeom prst="bentConnector3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="" xmlns:a16="http://schemas.microsoft.com/office/drawing/2014/main" id="{11CD5F19-09C7-4751-A800-8D89C9975C68}"/>
              </a:ext>
            </a:extLst>
          </p:cNvPr>
          <p:cNvCxnSpPr>
            <a:stCxn id="5" idx="2"/>
            <a:endCxn id="8" idx="0"/>
          </p:cNvCxnSpPr>
          <p:nvPr/>
        </p:nvCxnSpPr>
        <p:spPr>
          <a:xfrm flipV="1">
            <a:off x="5220072" y="2321356"/>
            <a:ext cx="1908212" cy="286398"/>
          </a:xfrm>
          <a:prstGeom prst="bentConnector4">
            <a:avLst>
              <a:gd name="adj1" fmla="val 11321"/>
              <a:gd name="adj2" fmla="val 318674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512237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/>
        </p:nvSpPr>
        <p:spPr>
          <a:xfrm>
            <a:off x="4592428" y="1514355"/>
            <a:ext cx="1907744" cy="1355779"/>
          </a:xfrm>
          <a:custGeom>
            <a:avLst/>
            <a:gdLst>
              <a:gd name="connsiteX0" fmla="*/ 953872 w 1907744"/>
              <a:gd name="connsiteY0" fmla="*/ 1368152 h 1368152"/>
              <a:gd name="connsiteX1" fmla="*/ 706964 w 1907744"/>
              <a:gd name="connsiteY1" fmla="*/ 1166916 h 1368152"/>
              <a:gd name="connsiteX2" fmla="*/ 705474 w 1907744"/>
              <a:gd name="connsiteY2" fmla="*/ 1152128 h 1368152"/>
              <a:gd name="connsiteX3" fmla="*/ 0 w 1907744"/>
              <a:gd name="connsiteY3" fmla="*/ 1152128 h 1368152"/>
              <a:gd name="connsiteX4" fmla="*/ 0 w 1907744"/>
              <a:gd name="connsiteY4" fmla="*/ 0 h 1368152"/>
              <a:gd name="connsiteX5" fmla="*/ 1893257 w 1907744"/>
              <a:gd name="connsiteY5" fmla="*/ 0 h 1368152"/>
              <a:gd name="connsiteX6" fmla="*/ 1893257 w 1907744"/>
              <a:gd name="connsiteY6" fmla="*/ 1080120 h 1368152"/>
              <a:gd name="connsiteX7" fmla="*/ 1907744 w 1907744"/>
              <a:gd name="connsiteY7" fmla="*/ 1080120 h 1368152"/>
              <a:gd name="connsiteX8" fmla="*/ 1907744 w 1907744"/>
              <a:gd name="connsiteY8" fmla="*/ 1152128 h 1368152"/>
              <a:gd name="connsiteX9" fmla="*/ 1202271 w 1907744"/>
              <a:gd name="connsiteY9" fmla="*/ 1152128 h 1368152"/>
              <a:gd name="connsiteX10" fmla="*/ 1200780 w 1907744"/>
              <a:gd name="connsiteY10" fmla="*/ 1166916 h 1368152"/>
              <a:gd name="connsiteX11" fmla="*/ 953872 w 1907744"/>
              <a:gd name="connsiteY11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907744" h="1368152">
                <a:moveTo>
                  <a:pt x="953872" y="1368152"/>
                </a:moveTo>
                <a:cubicBezTo>
                  <a:pt x="832080" y="1368152"/>
                  <a:pt x="730465" y="1281761"/>
                  <a:pt x="706964" y="1166916"/>
                </a:cubicBezTo>
                <a:lnTo>
                  <a:pt x="705474" y="1152128"/>
                </a:lnTo>
                <a:lnTo>
                  <a:pt x="0" y="1152128"/>
                </a:lnTo>
                <a:lnTo>
                  <a:pt x="0" y="0"/>
                </a:lnTo>
                <a:lnTo>
                  <a:pt x="1893257" y="0"/>
                </a:lnTo>
                <a:lnTo>
                  <a:pt x="1893257" y="1080120"/>
                </a:lnTo>
                <a:lnTo>
                  <a:pt x="1907744" y="1080120"/>
                </a:lnTo>
                <a:lnTo>
                  <a:pt x="1907744" y="1152128"/>
                </a:lnTo>
                <a:lnTo>
                  <a:pt x="1202271" y="1152128"/>
                </a:lnTo>
                <a:lnTo>
                  <a:pt x="1200780" y="1166916"/>
                </a:lnTo>
                <a:cubicBezTo>
                  <a:pt x="1177279" y="1281761"/>
                  <a:pt x="1075664" y="1368152"/>
                  <a:pt x="953872" y="1368152"/>
                </a:cubicBezTo>
                <a:close/>
              </a:path>
            </a:pathLst>
          </a:custGeom>
          <a:solidFill>
            <a:srgbClr val="2072C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reeform 10"/>
          <p:cNvSpPr/>
          <p:nvPr/>
        </p:nvSpPr>
        <p:spPr>
          <a:xfrm rot="10800000">
            <a:off x="2699793" y="3386565"/>
            <a:ext cx="1907744" cy="1368152"/>
          </a:xfrm>
          <a:custGeom>
            <a:avLst/>
            <a:gdLst>
              <a:gd name="connsiteX0" fmla="*/ 953872 w 1907744"/>
              <a:gd name="connsiteY0" fmla="*/ 1368152 h 1368152"/>
              <a:gd name="connsiteX1" fmla="*/ 706964 w 1907744"/>
              <a:gd name="connsiteY1" fmla="*/ 1166916 h 1368152"/>
              <a:gd name="connsiteX2" fmla="*/ 705474 w 1907744"/>
              <a:gd name="connsiteY2" fmla="*/ 1152128 h 1368152"/>
              <a:gd name="connsiteX3" fmla="*/ 0 w 1907744"/>
              <a:gd name="connsiteY3" fmla="*/ 1152128 h 1368152"/>
              <a:gd name="connsiteX4" fmla="*/ 0 w 1907744"/>
              <a:gd name="connsiteY4" fmla="*/ 0 h 1368152"/>
              <a:gd name="connsiteX5" fmla="*/ 1893257 w 1907744"/>
              <a:gd name="connsiteY5" fmla="*/ 0 h 1368152"/>
              <a:gd name="connsiteX6" fmla="*/ 1893257 w 1907744"/>
              <a:gd name="connsiteY6" fmla="*/ 1080120 h 1368152"/>
              <a:gd name="connsiteX7" fmla="*/ 1907744 w 1907744"/>
              <a:gd name="connsiteY7" fmla="*/ 1080120 h 1368152"/>
              <a:gd name="connsiteX8" fmla="*/ 1907744 w 1907744"/>
              <a:gd name="connsiteY8" fmla="*/ 1152128 h 1368152"/>
              <a:gd name="connsiteX9" fmla="*/ 1202271 w 1907744"/>
              <a:gd name="connsiteY9" fmla="*/ 1152128 h 1368152"/>
              <a:gd name="connsiteX10" fmla="*/ 1200780 w 1907744"/>
              <a:gd name="connsiteY10" fmla="*/ 1166916 h 1368152"/>
              <a:gd name="connsiteX11" fmla="*/ 953872 w 1907744"/>
              <a:gd name="connsiteY11" fmla="*/ 1368152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907744" h="1368152">
                <a:moveTo>
                  <a:pt x="953872" y="1368152"/>
                </a:moveTo>
                <a:cubicBezTo>
                  <a:pt x="832080" y="1368152"/>
                  <a:pt x="730465" y="1281761"/>
                  <a:pt x="706964" y="1166916"/>
                </a:cubicBezTo>
                <a:lnTo>
                  <a:pt x="705474" y="1152128"/>
                </a:lnTo>
                <a:lnTo>
                  <a:pt x="0" y="1152128"/>
                </a:lnTo>
                <a:lnTo>
                  <a:pt x="0" y="0"/>
                </a:lnTo>
                <a:lnTo>
                  <a:pt x="1893257" y="0"/>
                </a:lnTo>
                <a:lnTo>
                  <a:pt x="1893257" y="1080120"/>
                </a:lnTo>
                <a:lnTo>
                  <a:pt x="1907744" y="1080120"/>
                </a:lnTo>
                <a:lnTo>
                  <a:pt x="1907744" y="1152128"/>
                </a:lnTo>
                <a:lnTo>
                  <a:pt x="1202271" y="1152128"/>
                </a:lnTo>
                <a:lnTo>
                  <a:pt x="1200780" y="1166916"/>
                </a:lnTo>
                <a:cubicBezTo>
                  <a:pt x="1177279" y="1281761"/>
                  <a:pt x="1075664" y="1368152"/>
                  <a:pt x="953872" y="1368152"/>
                </a:cubicBezTo>
                <a:close/>
              </a:path>
            </a:pathLst>
          </a:custGeom>
          <a:solidFill>
            <a:srgbClr val="D9E7F4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 11"/>
          <p:cNvSpPr/>
          <p:nvPr/>
        </p:nvSpPr>
        <p:spPr>
          <a:xfrm>
            <a:off x="2699170" y="1514357"/>
            <a:ext cx="2159772" cy="1368152"/>
          </a:xfrm>
          <a:custGeom>
            <a:avLst/>
            <a:gdLst>
              <a:gd name="connsiteX0" fmla="*/ 0 w 2159772"/>
              <a:gd name="connsiteY0" fmla="*/ 0 h 1368152"/>
              <a:gd name="connsiteX1" fmla="*/ 1907744 w 2159772"/>
              <a:gd name="connsiteY1" fmla="*/ 0 h 1368152"/>
              <a:gd name="connsiteX2" fmla="*/ 1907744 w 2159772"/>
              <a:gd name="connsiteY2" fmla="*/ 324036 h 1368152"/>
              <a:gd name="connsiteX3" fmla="*/ 2159772 w 2159772"/>
              <a:gd name="connsiteY3" fmla="*/ 576064 h 1368152"/>
              <a:gd name="connsiteX4" fmla="*/ 1907744 w 2159772"/>
              <a:gd name="connsiteY4" fmla="*/ 828092 h 1368152"/>
              <a:gd name="connsiteX5" fmla="*/ 1907744 w 2159772"/>
              <a:gd name="connsiteY5" fmla="*/ 1152128 h 1368152"/>
              <a:gd name="connsiteX6" fmla="*/ 1202271 w 2159772"/>
              <a:gd name="connsiteY6" fmla="*/ 1152128 h 1368152"/>
              <a:gd name="connsiteX7" fmla="*/ 1200780 w 2159772"/>
              <a:gd name="connsiteY7" fmla="*/ 1166916 h 1368152"/>
              <a:gd name="connsiteX8" fmla="*/ 953872 w 2159772"/>
              <a:gd name="connsiteY8" fmla="*/ 1368152 h 1368152"/>
              <a:gd name="connsiteX9" fmla="*/ 706964 w 2159772"/>
              <a:gd name="connsiteY9" fmla="*/ 1166916 h 1368152"/>
              <a:gd name="connsiteX10" fmla="*/ 705474 w 2159772"/>
              <a:gd name="connsiteY10" fmla="*/ 1152128 h 1368152"/>
              <a:gd name="connsiteX11" fmla="*/ 0 w 2159772"/>
              <a:gd name="connsiteY11" fmla="*/ 1152128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159772" h="1368152">
                <a:moveTo>
                  <a:pt x="0" y="0"/>
                </a:moveTo>
                <a:lnTo>
                  <a:pt x="1907744" y="0"/>
                </a:lnTo>
                <a:lnTo>
                  <a:pt x="1907744" y="324036"/>
                </a:lnTo>
                <a:cubicBezTo>
                  <a:pt x="2046935" y="324036"/>
                  <a:pt x="2159772" y="436873"/>
                  <a:pt x="2159772" y="576064"/>
                </a:cubicBezTo>
                <a:cubicBezTo>
                  <a:pt x="2159772" y="715255"/>
                  <a:pt x="2046935" y="828092"/>
                  <a:pt x="1907744" y="828092"/>
                </a:cubicBezTo>
                <a:lnTo>
                  <a:pt x="1907744" y="1152128"/>
                </a:lnTo>
                <a:lnTo>
                  <a:pt x="1202271" y="1152128"/>
                </a:lnTo>
                <a:lnTo>
                  <a:pt x="1200780" y="1166916"/>
                </a:lnTo>
                <a:cubicBezTo>
                  <a:pt x="1177279" y="1281761"/>
                  <a:pt x="1075664" y="1368152"/>
                  <a:pt x="953872" y="1368152"/>
                </a:cubicBezTo>
                <a:cubicBezTo>
                  <a:pt x="832080" y="1368152"/>
                  <a:pt x="730465" y="1281761"/>
                  <a:pt x="706964" y="1166916"/>
                </a:cubicBezTo>
                <a:lnTo>
                  <a:pt x="705474" y="1152128"/>
                </a:lnTo>
                <a:lnTo>
                  <a:pt x="0" y="1152128"/>
                </a:lnTo>
                <a:close/>
              </a:path>
            </a:pathLst>
          </a:custGeom>
          <a:solidFill>
            <a:srgbClr val="D9E7F4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 12"/>
          <p:cNvSpPr/>
          <p:nvPr/>
        </p:nvSpPr>
        <p:spPr>
          <a:xfrm rot="10800000">
            <a:off x="4340400" y="3386565"/>
            <a:ext cx="2159772" cy="1368152"/>
          </a:xfrm>
          <a:custGeom>
            <a:avLst/>
            <a:gdLst>
              <a:gd name="connsiteX0" fmla="*/ 0 w 2159772"/>
              <a:gd name="connsiteY0" fmla="*/ 0 h 1368152"/>
              <a:gd name="connsiteX1" fmla="*/ 1907744 w 2159772"/>
              <a:gd name="connsiteY1" fmla="*/ 0 h 1368152"/>
              <a:gd name="connsiteX2" fmla="*/ 1907744 w 2159772"/>
              <a:gd name="connsiteY2" fmla="*/ 324036 h 1368152"/>
              <a:gd name="connsiteX3" fmla="*/ 2159772 w 2159772"/>
              <a:gd name="connsiteY3" fmla="*/ 576064 h 1368152"/>
              <a:gd name="connsiteX4" fmla="*/ 1907744 w 2159772"/>
              <a:gd name="connsiteY4" fmla="*/ 828092 h 1368152"/>
              <a:gd name="connsiteX5" fmla="*/ 1907744 w 2159772"/>
              <a:gd name="connsiteY5" fmla="*/ 1152128 h 1368152"/>
              <a:gd name="connsiteX6" fmla="*/ 1202271 w 2159772"/>
              <a:gd name="connsiteY6" fmla="*/ 1152128 h 1368152"/>
              <a:gd name="connsiteX7" fmla="*/ 1200780 w 2159772"/>
              <a:gd name="connsiteY7" fmla="*/ 1166916 h 1368152"/>
              <a:gd name="connsiteX8" fmla="*/ 953872 w 2159772"/>
              <a:gd name="connsiteY8" fmla="*/ 1368152 h 1368152"/>
              <a:gd name="connsiteX9" fmla="*/ 706964 w 2159772"/>
              <a:gd name="connsiteY9" fmla="*/ 1166916 h 1368152"/>
              <a:gd name="connsiteX10" fmla="*/ 705474 w 2159772"/>
              <a:gd name="connsiteY10" fmla="*/ 1152128 h 1368152"/>
              <a:gd name="connsiteX11" fmla="*/ 0 w 2159772"/>
              <a:gd name="connsiteY11" fmla="*/ 1152128 h 1368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159772" h="1368152">
                <a:moveTo>
                  <a:pt x="0" y="0"/>
                </a:moveTo>
                <a:lnTo>
                  <a:pt x="1907744" y="0"/>
                </a:lnTo>
                <a:lnTo>
                  <a:pt x="1907744" y="324036"/>
                </a:lnTo>
                <a:cubicBezTo>
                  <a:pt x="2046935" y="324036"/>
                  <a:pt x="2159772" y="436873"/>
                  <a:pt x="2159772" y="576064"/>
                </a:cubicBezTo>
                <a:cubicBezTo>
                  <a:pt x="2159772" y="715255"/>
                  <a:pt x="2046935" y="828092"/>
                  <a:pt x="1907744" y="828092"/>
                </a:cubicBezTo>
                <a:lnTo>
                  <a:pt x="1907744" y="1152128"/>
                </a:lnTo>
                <a:lnTo>
                  <a:pt x="1202271" y="1152128"/>
                </a:lnTo>
                <a:lnTo>
                  <a:pt x="1200780" y="1166916"/>
                </a:lnTo>
                <a:cubicBezTo>
                  <a:pt x="1177279" y="1281761"/>
                  <a:pt x="1075664" y="1368152"/>
                  <a:pt x="953872" y="1368152"/>
                </a:cubicBezTo>
                <a:cubicBezTo>
                  <a:pt x="832080" y="1368152"/>
                  <a:pt x="730465" y="1281761"/>
                  <a:pt x="706964" y="1166916"/>
                </a:cubicBezTo>
                <a:lnTo>
                  <a:pt x="705474" y="1152128"/>
                </a:lnTo>
                <a:lnTo>
                  <a:pt x="0" y="1152128"/>
                </a:lnTo>
                <a:close/>
              </a:path>
            </a:pathLst>
          </a:custGeom>
          <a:solidFill>
            <a:srgbClr val="D9E7F4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reeform 13"/>
          <p:cNvSpPr/>
          <p:nvPr/>
        </p:nvSpPr>
        <p:spPr>
          <a:xfrm>
            <a:off x="2699170" y="2594477"/>
            <a:ext cx="1907744" cy="1152128"/>
          </a:xfrm>
          <a:custGeom>
            <a:avLst/>
            <a:gdLst>
              <a:gd name="connsiteX0" fmla="*/ 0 w 1907744"/>
              <a:gd name="connsiteY0" fmla="*/ 0 h 1152128"/>
              <a:gd name="connsiteX1" fmla="*/ 699496 w 1907744"/>
              <a:gd name="connsiteY1" fmla="*/ 0 h 1152128"/>
              <a:gd name="connsiteX2" fmla="*/ 953872 w 1907744"/>
              <a:gd name="connsiteY2" fmla="*/ 254376 h 1152128"/>
              <a:gd name="connsiteX3" fmla="*/ 1208248 w 1907744"/>
              <a:gd name="connsiteY3" fmla="*/ 0 h 1152128"/>
              <a:gd name="connsiteX4" fmla="*/ 1907744 w 1907744"/>
              <a:gd name="connsiteY4" fmla="*/ 0 h 1152128"/>
              <a:gd name="connsiteX5" fmla="*/ 1907744 w 1907744"/>
              <a:gd name="connsiteY5" fmla="*/ 1152128 h 1152128"/>
              <a:gd name="connsiteX6" fmla="*/ 1204862 w 1907744"/>
              <a:gd name="connsiteY6" fmla="*/ 1152128 h 1152128"/>
              <a:gd name="connsiteX7" fmla="*/ 1208248 w 1907744"/>
              <a:gd name="connsiteY7" fmla="*/ 1118535 h 1152128"/>
              <a:gd name="connsiteX8" fmla="*/ 953872 w 1907744"/>
              <a:gd name="connsiteY8" fmla="*/ 864159 h 1152128"/>
              <a:gd name="connsiteX9" fmla="*/ 699496 w 1907744"/>
              <a:gd name="connsiteY9" fmla="*/ 1118535 h 1152128"/>
              <a:gd name="connsiteX10" fmla="*/ 702883 w 1907744"/>
              <a:gd name="connsiteY10" fmla="*/ 1152128 h 1152128"/>
              <a:gd name="connsiteX11" fmla="*/ 0 w 1907744"/>
              <a:gd name="connsiteY11" fmla="*/ 1152128 h 1152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907744" h="1152128">
                <a:moveTo>
                  <a:pt x="0" y="0"/>
                </a:moveTo>
                <a:lnTo>
                  <a:pt x="699496" y="0"/>
                </a:lnTo>
                <a:cubicBezTo>
                  <a:pt x="699496" y="140488"/>
                  <a:pt x="813384" y="254376"/>
                  <a:pt x="953872" y="254376"/>
                </a:cubicBezTo>
                <a:cubicBezTo>
                  <a:pt x="1094360" y="254376"/>
                  <a:pt x="1208248" y="140488"/>
                  <a:pt x="1208248" y="0"/>
                </a:cubicBezTo>
                <a:lnTo>
                  <a:pt x="1907744" y="0"/>
                </a:lnTo>
                <a:lnTo>
                  <a:pt x="1907744" y="1152128"/>
                </a:lnTo>
                <a:lnTo>
                  <a:pt x="1204862" y="1152128"/>
                </a:lnTo>
                <a:lnTo>
                  <a:pt x="1208248" y="1118535"/>
                </a:lnTo>
                <a:cubicBezTo>
                  <a:pt x="1208248" y="978047"/>
                  <a:pt x="1094360" y="864159"/>
                  <a:pt x="953872" y="864159"/>
                </a:cubicBezTo>
                <a:cubicBezTo>
                  <a:pt x="813384" y="864159"/>
                  <a:pt x="699496" y="978047"/>
                  <a:pt x="699496" y="1118535"/>
                </a:cubicBezTo>
                <a:lnTo>
                  <a:pt x="702883" y="1152128"/>
                </a:lnTo>
                <a:lnTo>
                  <a:pt x="0" y="1152128"/>
                </a:lnTo>
                <a:close/>
              </a:path>
            </a:pathLst>
          </a:custGeom>
          <a:solidFill>
            <a:srgbClr val="D9E7F4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Freeform 14"/>
          <p:cNvSpPr/>
          <p:nvPr/>
        </p:nvSpPr>
        <p:spPr>
          <a:xfrm>
            <a:off x="4592428" y="2594477"/>
            <a:ext cx="1907744" cy="1164502"/>
          </a:xfrm>
          <a:custGeom>
            <a:avLst/>
            <a:gdLst>
              <a:gd name="connsiteX0" fmla="*/ 0 w 1907744"/>
              <a:gd name="connsiteY0" fmla="*/ 0 h 1152128"/>
              <a:gd name="connsiteX1" fmla="*/ 699496 w 1907744"/>
              <a:gd name="connsiteY1" fmla="*/ 0 h 1152128"/>
              <a:gd name="connsiteX2" fmla="*/ 953872 w 1907744"/>
              <a:gd name="connsiteY2" fmla="*/ 254376 h 1152128"/>
              <a:gd name="connsiteX3" fmla="*/ 1208248 w 1907744"/>
              <a:gd name="connsiteY3" fmla="*/ 0 h 1152128"/>
              <a:gd name="connsiteX4" fmla="*/ 1907744 w 1907744"/>
              <a:gd name="connsiteY4" fmla="*/ 0 h 1152128"/>
              <a:gd name="connsiteX5" fmla="*/ 1907744 w 1907744"/>
              <a:gd name="connsiteY5" fmla="*/ 1152128 h 1152128"/>
              <a:gd name="connsiteX6" fmla="*/ 1204862 w 1907744"/>
              <a:gd name="connsiteY6" fmla="*/ 1152128 h 1152128"/>
              <a:gd name="connsiteX7" fmla="*/ 1208248 w 1907744"/>
              <a:gd name="connsiteY7" fmla="*/ 1118535 h 1152128"/>
              <a:gd name="connsiteX8" fmla="*/ 953872 w 1907744"/>
              <a:gd name="connsiteY8" fmla="*/ 864159 h 1152128"/>
              <a:gd name="connsiteX9" fmla="*/ 699496 w 1907744"/>
              <a:gd name="connsiteY9" fmla="*/ 1118535 h 1152128"/>
              <a:gd name="connsiteX10" fmla="*/ 702883 w 1907744"/>
              <a:gd name="connsiteY10" fmla="*/ 1152128 h 1152128"/>
              <a:gd name="connsiteX11" fmla="*/ 0 w 1907744"/>
              <a:gd name="connsiteY11" fmla="*/ 1152128 h 1152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907744" h="1152128">
                <a:moveTo>
                  <a:pt x="0" y="0"/>
                </a:moveTo>
                <a:lnTo>
                  <a:pt x="699496" y="0"/>
                </a:lnTo>
                <a:cubicBezTo>
                  <a:pt x="699496" y="140488"/>
                  <a:pt x="813384" y="254376"/>
                  <a:pt x="953872" y="254376"/>
                </a:cubicBezTo>
                <a:cubicBezTo>
                  <a:pt x="1094360" y="254376"/>
                  <a:pt x="1208248" y="140488"/>
                  <a:pt x="1208248" y="0"/>
                </a:cubicBezTo>
                <a:lnTo>
                  <a:pt x="1907744" y="0"/>
                </a:lnTo>
                <a:lnTo>
                  <a:pt x="1907744" y="1152128"/>
                </a:lnTo>
                <a:lnTo>
                  <a:pt x="1204862" y="1152128"/>
                </a:lnTo>
                <a:lnTo>
                  <a:pt x="1208248" y="1118535"/>
                </a:lnTo>
                <a:cubicBezTo>
                  <a:pt x="1208248" y="978047"/>
                  <a:pt x="1094360" y="864159"/>
                  <a:pt x="953872" y="864159"/>
                </a:cubicBezTo>
                <a:cubicBezTo>
                  <a:pt x="813384" y="864159"/>
                  <a:pt x="699496" y="978047"/>
                  <a:pt x="699496" y="1118535"/>
                </a:cubicBezTo>
                <a:lnTo>
                  <a:pt x="702883" y="1152128"/>
                </a:lnTo>
                <a:lnTo>
                  <a:pt x="0" y="1152128"/>
                </a:lnTo>
                <a:close/>
              </a:path>
            </a:pathLst>
          </a:custGeom>
          <a:solidFill>
            <a:srgbClr val="D9E7F4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/>
          <p:cNvSpPr txBox="1"/>
          <p:nvPr/>
        </p:nvSpPr>
        <p:spPr>
          <a:xfrm>
            <a:off x="2737614" y="1925931"/>
            <a:ext cx="1977779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accent1"/>
                </a:solidFill>
              </a:rPr>
              <a:t>Empower people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737615" y="3024893"/>
            <a:ext cx="1893258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accent1"/>
                </a:solidFill>
              </a:rPr>
              <a:t>Support clinicians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746707" y="4013641"/>
            <a:ext cx="1893258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accent1"/>
                </a:solidFill>
              </a:rPr>
              <a:t>Manage the</a:t>
            </a:r>
          </a:p>
          <a:p>
            <a:pPr algn="ctr"/>
            <a:r>
              <a:rPr lang="en-US" sz="1200" b="1" dirty="0">
                <a:solidFill>
                  <a:schemeClr val="accent1"/>
                </a:solidFill>
              </a:rPr>
              <a:t> system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4592427" y="3085262"/>
            <a:ext cx="1893258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accent1"/>
                </a:solidFill>
              </a:rPr>
              <a:t>Integrate services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4618261" y="4105973"/>
            <a:ext cx="1893258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accent1"/>
                </a:solidFill>
              </a:rPr>
              <a:t>Create the future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4890" y="1614430"/>
            <a:ext cx="900000" cy="900000"/>
          </a:xfrm>
          <a:prstGeom prst="rect">
            <a:avLst/>
          </a:prstGeom>
        </p:spPr>
      </p:pic>
      <p:sp>
        <p:nvSpPr>
          <p:cNvPr id="30" name="Title 29"/>
          <p:cNvSpPr>
            <a:spLocks noGrp="1"/>
          </p:cNvSpPr>
          <p:nvPr>
            <p:ph type="title"/>
          </p:nvPr>
        </p:nvSpPr>
        <p:spPr>
          <a:xfrm>
            <a:off x="360000" y="360000"/>
            <a:ext cx="7956456" cy="529568"/>
          </a:xfrm>
        </p:spPr>
        <p:txBody>
          <a:bodyPr>
            <a:normAutofit/>
          </a:bodyPr>
          <a:lstStyle/>
          <a:p>
            <a:r>
              <a:rPr lang="en-GB" sz="3000" dirty="0"/>
              <a:t>Digital transformation</a:t>
            </a:r>
          </a:p>
        </p:txBody>
      </p:sp>
    </p:spTree>
    <p:extLst>
      <p:ext uri="{BB962C8B-B14F-4D97-AF65-F5344CB8AC3E}">
        <p14:creationId xmlns:p14="http://schemas.microsoft.com/office/powerpoint/2010/main" val="1855181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/>
        </p:nvGrpSpPr>
        <p:grpSpPr>
          <a:xfrm>
            <a:off x="7582481" y="1234738"/>
            <a:ext cx="720000" cy="1481028"/>
            <a:chOff x="7582481" y="1041211"/>
            <a:chExt cx="720000" cy="1481028"/>
          </a:xfrm>
        </p:grpSpPr>
        <p:grpSp>
          <p:nvGrpSpPr>
            <p:cNvPr id="33" name="Group 32"/>
            <p:cNvGrpSpPr/>
            <p:nvPr/>
          </p:nvGrpSpPr>
          <p:grpSpPr>
            <a:xfrm rot="10800000">
              <a:off x="7582481" y="1041211"/>
              <a:ext cx="720000" cy="1481028"/>
              <a:chOff x="469192" y="3291830"/>
              <a:chExt cx="720000" cy="1481028"/>
            </a:xfrm>
          </p:grpSpPr>
          <p:cxnSp>
            <p:nvCxnSpPr>
              <p:cNvPr id="34" name="Straight Connector 33"/>
              <p:cNvCxnSpPr/>
              <p:nvPr/>
            </p:nvCxnSpPr>
            <p:spPr>
              <a:xfrm flipV="1">
                <a:off x="827584" y="3291830"/>
                <a:ext cx="0" cy="792088"/>
              </a:xfrm>
              <a:prstGeom prst="line">
                <a:avLst/>
              </a:prstGeom>
              <a:ln w="508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5" name="Oval 34"/>
              <p:cNvSpPr/>
              <p:nvPr/>
            </p:nvSpPr>
            <p:spPr>
              <a:xfrm>
                <a:off x="469192" y="4052858"/>
                <a:ext cx="720000" cy="7200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9220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80723" y="1109501"/>
              <a:ext cx="522120" cy="540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7" name="Group 16"/>
          <p:cNvGrpSpPr/>
          <p:nvPr/>
        </p:nvGrpSpPr>
        <p:grpSpPr>
          <a:xfrm>
            <a:off x="4860112" y="941186"/>
            <a:ext cx="720000" cy="1596834"/>
            <a:chOff x="4860112" y="807167"/>
            <a:chExt cx="720000" cy="1596834"/>
          </a:xfrm>
        </p:grpSpPr>
        <p:grpSp>
          <p:nvGrpSpPr>
            <p:cNvPr id="27" name="Group 26"/>
            <p:cNvGrpSpPr/>
            <p:nvPr/>
          </p:nvGrpSpPr>
          <p:grpSpPr>
            <a:xfrm rot="10800000">
              <a:off x="4860112" y="807167"/>
              <a:ext cx="720000" cy="1596834"/>
              <a:chOff x="413772" y="3176024"/>
              <a:chExt cx="720000" cy="1596834"/>
            </a:xfrm>
          </p:grpSpPr>
          <p:cxnSp>
            <p:nvCxnSpPr>
              <p:cNvPr id="28" name="Straight Connector 27"/>
              <p:cNvCxnSpPr/>
              <p:nvPr/>
            </p:nvCxnSpPr>
            <p:spPr>
              <a:xfrm rot="10800000" flipH="1">
                <a:off x="781156" y="3176024"/>
                <a:ext cx="3853" cy="907894"/>
              </a:xfrm>
              <a:prstGeom prst="line">
                <a:avLst/>
              </a:prstGeom>
              <a:ln w="508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Oval 28"/>
              <p:cNvSpPr/>
              <p:nvPr/>
            </p:nvSpPr>
            <p:spPr>
              <a:xfrm>
                <a:off x="413772" y="4052858"/>
                <a:ext cx="720000" cy="7200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pic>
          <p:nvPicPr>
            <p:cNvPr id="54" name="Picture 53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66261" y="915622"/>
              <a:ext cx="515529" cy="504000"/>
            </a:xfrm>
            <a:prstGeom prst="rect">
              <a:avLst/>
            </a:prstGeom>
          </p:spPr>
        </p:pic>
      </p:grpSp>
      <p:grpSp>
        <p:nvGrpSpPr>
          <p:cNvPr id="19" name="Group 18"/>
          <p:cNvGrpSpPr/>
          <p:nvPr/>
        </p:nvGrpSpPr>
        <p:grpSpPr>
          <a:xfrm>
            <a:off x="665640" y="2704160"/>
            <a:ext cx="684000" cy="1171420"/>
            <a:chOff x="665640" y="2939863"/>
            <a:chExt cx="684000" cy="1171420"/>
          </a:xfrm>
        </p:grpSpPr>
        <p:grpSp>
          <p:nvGrpSpPr>
            <p:cNvPr id="16" name="Group 15"/>
            <p:cNvGrpSpPr/>
            <p:nvPr/>
          </p:nvGrpSpPr>
          <p:grpSpPr>
            <a:xfrm>
              <a:off x="665640" y="2939863"/>
              <a:ext cx="684000" cy="1171420"/>
              <a:chOff x="413772" y="3565438"/>
              <a:chExt cx="684000" cy="1171420"/>
            </a:xfrm>
          </p:grpSpPr>
          <p:cxnSp>
            <p:nvCxnSpPr>
              <p:cNvPr id="10" name="Straight Connector 9"/>
              <p:cNvCxnSpPr/>
              <p:nvPr/>
            </p:nvCxnSpPr>
            <p:spPr>
              <a:xfrm flipH="1" flipV="1">
                <a:off x="755772" y="3565438"/>
                <a:ext cx="8258" cy="518480"/>
              </a:xfrm>
              <a:prstGeom prst="line">
                <a:avLst/>
              </a:prstGeom>
              <a:ln w="508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" name="Oval 12"/>
              <p:cNvSpPr/>
              <p:nvPr/>
            </p:nvSpPr>
            <p:spPr>
              <a:xfrm>
                <a:off x="413772" y="4052858"/>
                <a:ext cx="684000" cy="6840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9218" name="Picture 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640" y="3451135"/>
              <a:ext cx="648000" cy="6327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36" name="Group 35"/>
          <p:cNvGrpSpPr/>
          <p:nvPr/>
        </p:nvGrpSpPr>
        <p:grpSpPr>
          <a:xfrm>
            <a:off x="6228184" y="2769490"/>
            <a:ext cx="720000" cy="1281630"/>
            <a:chOff x="6228184" y="3005193"/>
            <a:chExt cx="720000" cy="1281630"/>
          </a:xfrm>
        </p:grpSpPr>
        <p:grpSp>
          <p:nvGrpSpPr>
            <p:cNvPr id="30" name="Group 29"/>
            <p:cNvGrpSpPr/>
            <p:nvPr/>
          </p:nvGrpSpPr>
          <p:grpSpPr>
            <a:xfrm>
              <a:off x="6228184" y="3005193"/>
              <a:ext cx="720000" cy="1281630"/>
              <a:chOff x="477301" y="3403409"/>
              <a:chExt cx="720000" cy="1362645"/>
            </a:xfrm>
          </p:grpSpPr>
          <p:cxnSp>
            <p:nvCxnSpPr>
              <p:cNvPr id="31" name="Straight Connector 30"/>
              <p:cNvCxnSpPr/>
              <p:nvPr/>
            </p:nvCxnSpPr>
            <p:spPr>
              <a:xfrm flipV="1">
                <a:off x="827584" y="3403409"/>
                <a:ext cx="0" cy="680510"/>
              </a:xfrm>
              <a:prstGeom prst="line">
                <a:avLst/>
              </a:prstGeom>
              <a:ln w="508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2" name="Oval 31"/>
              <p:cNvSpPr/>
              <p:nvPr/>
            </p:nvSpPr>
            <p:spPr>
              <a:xfrm>
                <a:off x="477301" y="4000541"/>
                <a:ext cx="720000" cy="765513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00192" y="3651870"/>
              <a:ext cx="568535" cy="540000"/>
            </a:xfrm>
            <a:prstGeom prst="rect">
              <a:avLst/>
            </a:prstGeom>
          </p:spPr>
        </p:pic>
      </p:grpSp>
      <p:grpSp>
        <p:nvGrpSpPr>
          <p:cNvPr id="20" name="Group 19"/>
          <p:cNvGrpSpPr/>
          <p:nvPr/>
        </p:nvGrpSpPr>
        <p:grpSpPr>
          <a:xfrm>
            <a:off x="3469951" y="2704160"/>
            <a:ext cx="720000" cy="1163470"/>
            <a:chOff x="3469951" y="2939863"/>
            <a:chExt cx="720000" cy="1163470"/>
          </a:xfrm>
        </p:grpSpPr>
        <p:grpSp>
          <p:nvGrpSpPr>
            <p:cNvPr id="24" name="Group 23"/>
            <p:cNvGrpSpPr/>
            <p:nvPr/>
          </p:nvGrpSpPr>
          <p:grpSpPr>
            <a:xfrm>
              <a:off x="3469951" y="2939863"/>
              <a:ext cx="720000" cy="1163470"/>
              <a:chOff x="455337" y="3609388"/>
              <a:chExt cx="720000" cy="1163470"/>
            </a:xfrm>
          </p:grpSpPr>
          <p:cxnSp>
            <p:nvCxnSpPr>
              <p:cNvPr id="25" name="Straight Connector 24"/>
              <p:cNvCxnSpPr/>
              <p:nvPr/>
            </p:nvCxnSpPr>
            <p:spPr>
              <a:xfrm flipH="1" flipV="1">
                <a:off x="809896" y="3609388"/>
                <a:ext cx="17688" cy="474530"/>
              </a:xfrm>
              <a:prstGeom prst="line">
                <a:avLst/>
              </a:prstGeom>
              <a:ln w="508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Oval 25"/>
              <p:cNvSpPr/>
              <p:nvPr/>
            </p:nvSpPr>
            <p:spPr>
              <a:xfrm>
                <a:off x="455337" y="4052858"/>
                <a:ext cx="720000" cy="7200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55" name="Picture 3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55946" y="3458055"/>
              <a:ext cx="567418" cy="540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" name="Rectangle 1"/>
          <p:cNvSpPr/>
          <p:nvPr/>
        </p:nvSpPr>
        <p:spPr>
          <a:xfrm>
            <a:off x="439552" y="2509739"/>
            <a:ext cx="1296143" cy="555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r>
              <a:rPr lang="en-US" sz="1400" b="1" dirty="0" err="1">
                <a:solidFill>
                  <a:srgbClr val="FFFF00"/>
                </a:solidFill>
              </a:rPr>
              <a:t>WiFi</a:t>
            </a:r>
          </a:p>
        </p:txBody>
      </p:sp>
      <p:sp>
        <p:nvSpPr>
          <p:cNvPr id="5" name="Rectangle 4"/>
          <p:cNvSpPr/>
          <p:nvPr/>
        </p:nvSpPr>
        <p:spPr>
          <a:xfrm>
            <a:off x="1813303" y="2005130"/>
            <a:ext cx="1296142" cy="84298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r>
              <a:rPr lang="en-US" sz="1400" b="1" dirty="0">
                <a:solidFill>
                  <a:srgbClr val="FFFF00"/>
                </a:solidFill>
              </a:rPr>
              <a:t>GP Online Services</a:t>
            </a:r>
          </a:p>
        </p:txBody>
      </p:sp>
      <p:sp>
        <p:nvSpPr>
          <p:cNvPr id="6" name="Rectangle 5"/>
          <p:cNvSpPr/>
          <p:nvPr/>
        </p:nvSpPr>
        <p:spPr>
          <a:xfrm>
            <a:off x="3187053" y="2509739"/>
            <a:ext cx="1296143" cy="3888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r>
              <a:rPr lang="en-US" sz="1400" b="1" dirty="0">
                <a:solidFill>
                  <a:srgbClr val="FFFF00"/>
                </a:solidFill>
              </a:rPr>
              <a:t>NHS.UK</a:t>
            </a:r>
          </a:p>
        </p:txBody>
      </p:sp>
      <p:sp>
        <p:nvSpPr>
          <p:cNvPr id="7" name="Rectangle 6"/>
          <p:cNvSpPr/>
          <p:nvPr/>
        </p:nvSpPr>
        <p:spPr>
          <a:xfrm>
            <a:off x="4560804" y="2000739"/>
            <a:ext cx="1296143" cy="84298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r>
              <a:rPr lang="en-US" sz="1400" b="1" dirty="0">
                <a:solidFill>
                  <a:srgbClr val="FFFF00"/>
                </a:solidFill>
              </a:rPr>
              <a:t>Widening Digital Participation</a:t>
            </a:r>
          </a:p>
        </p:txBody>
      </p:sp>
      <p:sp>
        <p:nvSpPr>
          <p:cNvPr id="8" name="Rectangle 7"/>
          <p:cNvSpPr/>
          <p:nvPr/>
        </p:nvSpPr>
        <p:spPr>
          <a:xfrm>
            <a:off x="5934555" y="2509739"/>
            <a:ext cx="1296142" cy="5195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r>
              <a:rPr lang="en-US" sz="1400" b="1" dirty="0">
                <a:solidFill>
                  <a:srgbClr val="FFFF00"/>
                </a:solidFill>
              </a:rPr>
              <a:t>Apps and Wearables</a:t>
            </a:r>
          </a:p>
        </p:txBody>
      </p:sp>
      <p:sp>
        <p:nvSpPr>
          <p:cNvPr id="9" name="Rectangle 8"/>
          <p:cNvSpPr/>
          <p:nvPr/>
        </p:nvSpPr>
        <p:spPr>
          <a:xfrm>
            <a:off x="7308306" y="2278270"/>
            <a:ext cx="1296142" cy="5195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r>
              <a:rPr lang="en-US" sz="1400" b="1" dirty="0">
                <a:solidFill>
                  <a:srgbClr val="FFFF00"/>
                </a:solidFill>
              </a:rPr>
              <a:t>NHS 111 Online</a:t>
            </a:r>
          </a:p>
        </p:txBody>
      </p:sp>
      <p:sp>
        <p:nvSpPr>
          <p:cNvPr id="43" name="Title 29"/>
          <p:cNvSpPr>
            <a:spLocks noGrp="1"/>
          </p:cNvSpPr>
          <p:nvPr>
            <p:ph type="title"/>
          </p:nvPr>
        </p:nvSpPr>
        <p:spPr>
          <a:xfrm>
            <a:off x="110250" y="203430"/>
            <a:ext cx="7956456" cy="529568"/>
          </a:xfrm>
        </p:spPr>
        <p:txBody>
          <a:bodyPr>
            <a:normAutofit fontScale="90000"/>
          </a:bodyPr>
          <a:lstStyle/>
          <a:p>
            <a:r>
              <a:rPr lang="en-GB" sz="3000" dirty="0">
                <a:solidFill>
                  <a:srgbClr val="005EB8"/>
                </a:solidFill>
              </a:rPr>
              <a:t>Empowering people – A growing family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471195" y="1478296"/>
            <a:ext cx="1296143" cy="984881"/>
          </a:xfrm>
          <a:prstGeom prst="rect">
            <a:avLst/>
          </a:prstGeom>
          <a:noFill/>
        </p:spPr>
        <p:txBody>
          <a:bodyPr wrap="square" lIns="121917" tIns="60958" rIns="121917" bIns="60958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accent1"/>
                </a:solidFill>
              </a:rPr>
              <a:t>40M people have access to free NHS </a:t>
            </a:r>
            <a:r>
              <a:rPr lang="en-US" sz="1400" dirty="0" err="1">
                <a:solidFill>
                  <a:schemeClr val="accent1"/>
                </a:solidFill>
              </a:rPr>
              <a:t>WiFi</a:t>
            </a:r>
            <a:r>
              <a:rPr lang="en-US" sz="1400" dirty="0">
                <a:solidFill>
                  <a:schemeClr val="accent1"/>
                </a:solidFill>
              </a:rPr>
              <a:t> 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3134679" y="1899169"/>
            <a:ext cx="1440161" cy="553994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/>
            <a:r>
              <a:rPr lang="en-GB" sz="1400" dirty="0">
                <a:solidFill>
                  <a:schemeClr val="accent1"/>
                </a:solidFill>
                <a:cs typeface="Calibri"/>
              </a:rPr>
              <a:t>Improved  content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5934555" y="1616020"/>
            <a:ext cx="1296142" cy="769437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accent1"/>
                </a:solidFill>
              </a:rPr>
              <a:t>49 </a:t>
            </a:r>
            <a:r>
              <a:rPr lang="en-US" sz="1400" dirty="0">
                <a:solidFill>
                  <a:schemeClr val="accent1"/>
                </a:solidFill>
              </a:rPr>
              <a:t>apps for managing healthcare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1844946" y="2955704"/>
            <a:ext cx="1289734" cy="984881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/>
            <a:r>
              <a:rPr lang="en-US" sz="1400" dirty="0">
                <a:solidFill>
                  <a:schemeClr val="accent1"/>
                </a:solidFill>
              </a:rPr>
              <a:t>14M patients registered for GP online services 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4592446" y="2898581"/>
            <a:ext cx="1296143" cy="984881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/>
            <a:r>
              <a:rPr lang="en-GB" sz="1400" dirty="0">
                <a:solidFill>
                  <a:schemeClr val="accent1"/>
                </a:solidFill>
              </a:rPr>
              <a:t>Digital Inclusion guide published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7308510" y="2898581"/>
            <a:ext cx="1295938" cy="984881"/>
          </a:xfrm>
          <a:prstGeom prst="rect">
            <a:avLst/>
          </a:prstGeom>
          <a:noFill/>
        </p:spPr>
        <p:txBody>
          <a:bodyPr wrap="square" lIns="121917" tIns="60958" rIns="121917" bIns="60958" rtlCol="0" anchor="t">
            <a:spAutoFit/>
          </a:bodyPr>
          <a:lstStyle/>
          <a:p>
            <a:pPr algn="ctr"/>
            <a:r>
              <a:rPr lang="en-US" sz="1400" dirty="0">
                <a:solidFill>
                  <a:schemeClr val="accent1"/>
                </a:solidFill>
              </a:rPr>
              <a:t>33% coverage across England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683569" y="4299942"/>
            <a:ext cx="7776863" cy="526740"/>
            <a:chOff x="827585" y="4498037"/>
            <a:chExt cx="7776863" cy="526740"/>
          </a:xfrm>
        </p:grpSpPr>
        <p:sp>
          <p:nvSpPr>
            <p:cNvPr id="39" name="Rectangle 38">
              <a:extLst>
                <a:ext uri="{FF2B5EF4-FFF2-40B4-BE49-F238E27FC236}">
                  <a16:creationId xmlns="" xmlns:a16="http://schemas.microsoft.com/office/drawing/2014/main" id="{C32F7479-0AE7-FE41-88CA-145DF372DAC2}"/>
                </a:ext>
              </a:extLst>
            </p:cNvPr>
            <p:cNvSpPr/>
            <p:nvPr/>
          </p:nvSpPr>
          <p:spPr>
            <a:xfrm>
              <a:off x="2406670" y="4505276"/>
              <a:ext cx="1296142" cy="51950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8" tIns="45719" rIns="91438" bIns="45719" rtlCol="0" anchor="ctr"/>
            <a:lstStyle/>
            <a:p>
              <a:pPr algn="ctr"/>
              <a:r>
                <a:rPr lang="en-US" sz="1400" b="1" dirty="0">
                  <a:solidFill>
                    <a:srgbClr val="FFFF00"/>
                  </a:solidFill>
                </a:rPr>
                <a:t>PHR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="" xmlns:a16="http://schemas.microsoft.com/office/drawing/2014/main" id="{49780BEA-239A-9946-A153-21FB09A195D1}"/>
                </a:ext>
              </a:extLst>
            </p:cNvPr>
            <p:cNvSpPr/>
            <p:nvPr/>
          </p:nvSpPr>
          <p:spPr>
            <a:xfrm>
              <a:off x="3968526" y="4505275"/>
              <a:ext cx="1296142" cy="51950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8" tIns="45719" rIns="91438" bIns="45719" rtlCol="0" anchor="ctr"/>
            <a:lstStyle/>
            <a:p>
              <a:pPr algn="ctr"/>
              <a:r>
                <a:rPr lang="en-US" sz="1400" b="1" dirty="0">
                  <a:solidFill>
                    <a:srgbClr val="FFFF00"/>
                  </a:solidFill>
                </a:rPr>
                <a:t>CITIZEN ID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="" xmlns:a16="http://schemas.microsoft.com/office/drawing/2014/main" id="{368A7462-46EA-6545-BB2A-6AB0FDB9DFFD}"/>
                </a:ext>
              </a:extLst>
            </p:cNvPr>
            <p:cNvSpPr/>
            <p:nvPr/>
          </p:nvSpPr>
          <p:spPr>
            <a:xfrm>
              <a:off x="5505559" y="4498038"/>
              <a:ext cx="1296142" cy="51950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8" tIns="45719" rIns="91438" bIns="45719" rtlCol="0" anchor="ctr"/>
            <a:lstStyle/>
            <a:p>
              <a:pPr algn="ctr"/>
              <a:r>
                <a:rPr lang="en-US" sz="1400" b="1" dirty="0">
                  <a:solidFill>
                    <a:srgbClr val="FFFF00"/>
                  </a:solidFill>
                </a:rPr>
                <a:t>DIGITAL MATERNITY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="" xmlns:a16="http://schemas.microsoft.com/office/drawing/2014/main" id="{2169F5F5-BA20-1544-9D4B-641F9AF5FF48}"/>
                </a:ext>
              </a:extLst>
            </p:cNvPr>
            <p:cNvSpPr/>
            <p:nvPr/>
          </p:nvSpPr>
          <p:spPr>
            <a:xfrm>
              <a:off x="6939970" y="4498037"/>
              <a:ext cx="1664478" cy="51950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8" tIns="45719" rIns="91438" bIns="45719" rtlCol="0" anchor="ctr"/>
            <a:lstStyle/>
            <a:p>
              <a:pPr algn="ctr"/>
              <a:r>
                <a:rPr lang="en-US" sz="1400" b="1" dirty="0">
                  <a:solidFill>
                    <a:srgbClr val="FFFF00"/>
                  </a:solidFill>
                </a:rPr>
                <a:t>DIGITAL CHILD HEALTH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="" xmlns:a16="http://schemas.microsoft.com/office/drawing/2014/main" id="{0251CA8D-5A71-0542-A573-1644BACFD2C8}"/>
                </a:ext>
              </a:extLst>
            </p:cNvPr>
            <p:cNvSpPr/>
            <p:nvPr/>
          </p:nvSpPr>
          <p:spPr>
            <a:xfrm>
              <a:off x="827585" y="4498037"/>
              <a:ext cx="1296142" cy="51950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8" tIns="45719" rIns="91438" bIns="45719" rtlCol="0" anchor="ctr"/>
            <a:lstStyle/>
            <a:p>
              <a:pPr algn="ctr"/>
              <a:r>
                <a:rPr lang="en-US" sz="1400" b="1" dirty="0">
                  <a:solidFill>
                    <a:srgbClr val="FFFF00"/>
                  </a:solidFill>
                </a:rPr>
                <a:t>NHS APP</a:t>
              </a: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2096098" y="982681"/>
            <a:ext cx="720000" cy="1157021"/>
            <a:chOff x="2096098" y="848109"/>
            <a:chExt cx="720000" cy="1157021"/>
          </a:xfrm>
        </p:grpSpPr>
        <p:grpSp>
          <p:nvGrpSpPr>
            <p:cNvPr id="21" name="Group 20"/>
            <p:cNvGrpSpPr/>
            <p:nvPr/>
          </p:nvGrpSpPr>
          <p:grpSpPr>
            <a:xfrm rot="10800000">
              <a:off x="2096098" y="848109"/>
              <a:ext cx="720000" cy="1157021"/>
              <a:chOff x="336836" y="3615837"/>
              <a:chExt cx="720000" cy="1157021"/>
            </a:xfrm>
          </p:grpSpPr>
          <p:cxnSp>
            <p:nvCxnSpPr>
              <p:cNvPr id="22" name="Straight Connector 21"/>
              <p:cNvCxnSpPr>
                <a:stCxn id="23" idx="0"/>
                <a:endCxn id="5" idx="0"/>
              </p:cNvCxnSpPr>
              <p:nvPr/>
            </p:nvCxnSpPr>
            <p:spPr>
              <a:xfrm rot="10800000">
                <a:off x="691560" y="3615837"/>
                <a:ext cx="5276" cy="437021"/>
              </a:xfrm>
              <a:prstGeom prst="line">
                <a:avLst/>
              </a:prstGeom>
              <a:ln w="508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Oval 22"/>
              <p:cNvSpPr/>
              <p:nvPr/>
            </p:nvSpPr>
            <p:spPr>
              <a:xfrm>
                <a:off x="336836" y="4052858"/>
                <a:ext cx="720000" cy="7200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5736" y="923380"/>
              <a:ext cx="540000" cy="5405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6562217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Shape 87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vert="horz" wrap="square" lIns="74055" tIns="37017" rIns="74055" bIns="37017" rtlCol="0" anchor="ctr" anchorCtr="0">
            <a:noAutofit/>
          </a:bodyPr>
          <a:lstStyle/>
          <a:p>
            <a:fld id="{00000000-1234-1234-1234-123412341234}" type="slidenum">
              <a:rPr lang="en-US"/>
              <a:pPr/>
              <a:t>8</a:t>
            </a:fld>
            <a:endParaRPr dirty="0"/>
          </a:p>
        </p:txBody>
      </p:sp>
      <p:sp>
        <p:nvSpPr>
          <p:cNvPr id="85" name="Shape 85"/>
          <p:cNvSpPr txBox="1">
            <a:spLocks noGrp="1"/>
          </p:cNvSpPr>
          <p:nvPr>
            <p:ph type="title"/>
          </p:nvPr>
        </p:nvSpPr>
        <p:spPr>
          <a:xfrm>
            <a:off x="583669" y="58534"/>
            <a:ext cx="7010023" cy="842400"/>
          </a:xfrm>
          <a:prstGeom prst="rect">
            <a:avLst/>
          </a:prstGeom>
        </p:spPr>
        <p:txBody>
          <a:bodyPr spcFirstLastPara="1" vert="horz" wrap="square" lIns="74055" tIns="74055" rIns="74055" bIns="74055" rtlCol="0" anchor="ctr" anchorCtr="0">
            <a:noAutofit/>
          </a:bodyPr>
          <a:lstStyle/>
          <a:p>
            <a:r>
              <a:rPr lang="en-GB" dirty="0">
                <a:latin typeface="Arial"/>
                <a:ea typeface="Arial"/>
                <a:cs typeface="Arial"/>
                <a:sym typeface="Arial"/>
              </a:rPr>
              <a:t>Integrating services into the NHS App</a:t>
            </a:r>
            <a:endParaRPr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="" xmlns:a16="http://schemas.microsoft.com/office/drawing/2014/main" id="{CCD66ACA-8F44-DC4D-9FF5-F306D1B20ECD}"/>
              </a:ext>
            </a:extLst>
          </p:cNvPr>
          <p:cNvSpPr/>
          <p:nvPr/>
        </p:nvSpPr>
        <p:spPr>
          <a:xfrm>
            <a:off x="6459423" y="436290"/>
            <a:ext cx="406044" cy="127034"/>
          </a:xfrm>
          <a:prstGeom prst="rect">
            <a:avLst/>
          </a:prstGeom>
          <a:solidFill>
            <a:schemeClr val="bg1"/>
          </a:solidFill>
          <a:ln w="1905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540" b="1" dirty="0">
                <a:solidFill>
                  <a:srgbClr val="FF0000"/>
                </a:solidFill>
              </a:rPr>
              <a:t>DRAFT</a:t>
            </a:r>
            <a:endParaRPr lang="en-US" sz="540" b="1" dirty="0">
              <a:solidFill>
                <a:srgbClr val="FF0000"/>
              </a:solidFill>
            </a:endParaRPr>
          </a:p>
        </p:txBody>
      </p:sp>
      <p:sp>
        <p:nvSpPr>
          <p:cNvPr id="35" name="Shape 88">
            <a:extLst>
              <a:ext uri="{FF2B5EF4-FFF2-40B4-BE49-F238E27FC236}">
                <a16:creationId xmlns="" xmlns:a16="http://schemas.microsoft.com/office/drawing/2014/main" id="{7F3E0700-CE04-4842-BCAB-BE9808EFF4B6}"/>
              </a:ext>
            </a:extLst>
          </p:cNvPr>
          <p:cNvSpPr/>
          <p:nvPr/>
        </p:nvSpPr>
        <p:spPr>
          <a:xfrm>
            <a:off x="0" y="0"/>
            <a:ext cx="9144000" cy="9941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82283" tIns="82283" rIns="82283" bIns="82283" anchor="ctr" anchorCtr="0">
            <a:noAutofit/>
          </a:bodyPr>
          <a:lstStyle/>
          <a:p>
            <a:pPr defTabSz="822960">
              <a:buClr>
                <a:srgbClr val="000000"/>
              </a:buClr>
            </a:pPr>
            <a:endParaRPr sz="126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6" name="Title 2">
            <a:extLst>
              <a:ext uri="{FF2B5EF4-FFF2-40B4-BE49-F238E27FC236}">
                <a16:creationId xmlns="" xmlns:a16="http://schemas.microsoft.com/office/drawing/2014/main" id="{E20E95F6-9754-5C4C-A960-FEB9BB0E9F38}"/>
              </a:ext>
            </a:extLst>
          </p:cNvPr>
          <p:cNvSpPr txBox="1">
            <a:spLocks/>
          </p:cNvSpPr>
          <p:nvPr/>
        </p:nvSpPr>
        <p:spPr>
          <a:xfrm>
            <a:off x="370676" y="0"/>
            <a:ext cx="7632000" cy="93609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rmAutofit/>
          </a:bodyPr>
          <a:lstStyle>
            <a:lvl1pPr marR="0" lvl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Font typeface="Open Sans"/>
              <a:buNone/>
              <a:defRPr sz="2700" b="1" i="0" u="none" strike="noStrike" kern="1200" cap="none">
                <a:solidFill>
                  <a:schemeClr val="accen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620"/>
            </a:lvl9pPr>
          </a:lstStyle>
          <a:p>
            <a:r>
              <a:rPr lang="en-US" dirty="0">
                <a:solidFill>
                  <a:schemeClr val="bg1"/>
                </a:solidFill>
              </a:rPr>
              <a:t>Empower the Person roadmap</a:t>
            </a:r>
          </a:p>
        </p:txBody>
      </p:sp>
      <p:pic>
        <p:nvPicPr>
          <p:cNvPr id="43" name="Picture 2" descr="C:\Users\DShaplan\AppData\Local\Temp\Rar$DIa0.409\NHS 10mm - RGB Blue on white.jpg">
            <a:extLst>
              <a:ext uri="{FF2B5EF4-FFF2-40B4-BE49-F238E27FC236}">
                <a16:creationId xmlns="" xmlns:a16="http://schemas.microsoft.com/office/drawing/2014/main" id="{CC46DAAC-6E15-614B-BF78-360641A707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3050" y="213059"/>
            <a:ext cx="618476" cy="24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5">
            <a:extLst>
              <a:ext uri="{FF2B5EF4-FFF2-40B4-BE49-F238E27FC236}">
                <a16:creationId xmlns="" xmlns:a16="http://schemas.microsoft.com/office/drawing/2014/main" id="{EDF073CA-D83E-8747-8819-6BADCE50A9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6" name="Picture 45">
            <a:extLst>
              <a:ext uri="{FF2B5EF4-FFF2-40B4-BE49-F238E27FC236}">
                <a16:creationId xmlns="" xmlns:a16="http://schemas.microsoft.com/office/drawing/2014/main" id="{239BA199-94A6-D040-9EF9-335E852C484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9443"/>
          <a:stretch/>
        </p:blipFill>
        <p:spPr>
          <a:xfrm>
            <a:off x="-66295" y="1003450"/>
            <a:ext cx="9144000" cy="414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268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29"/>
          <p:cNvSpPr>
            <a:spLocks noGrp="1"/>
          </p:cNvSpPr>
          <p:nvPr>
            <p:ph type="title"/>
          </p:nvPr>
        </p:nvSpPr>
        <p:spPr>
          <a:xfrm>
            <a:off x="360000" y="360000"/>
            <a:ext cx="7956456" cy="529568"/>
          </a:xfrm>
        </p:spPr>
        <p:txBody>
          <a:bodyPr>
            <a:normAutofit/>
          </a:bodyPr>
          <a:lstStyle/>
          <a:p>
            <a:r>
              <a:rPr lang="en-GB" sz="3000" dirty="0"/>
              <a:t>Empower the Person priorities 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251521" y="1848940"/>
            <a:ext cx="1565734" cy="2338202"/>
          </a:xfrm>
          <a:prstGeom prst="roundRect">
            <a:avLst>
              <a:gd name="adj" fmla="val 8730"/>
            </a:avLst>
          </a:prstGeom>
          <a:solidFill>
            <a:srgbClr val="D9E7F4"/>
          </a:solidFill>
          <a:ln w="476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GB" sz="1300" b="1" dirty="0">
              <a:solidFill>
                <a:schemeClr val="accent1"/>
              </a:solidFill>
              <a:cs typeface="Calibri"/>
            </a:endParaRPr>
          </a:p>
          <a:p>
            <a:pPr algn="ctr"/>
            <a:endParaRPr lang="en-GB" sz="1300" b="1" dirty="0">
              <a:solidFill>
                <a:schemeClr val="accent1"/>
              </a:solidFill>
              <a:cs typeface="Calibri"/>
            </a:endParaRPr>
          </a:p>
          <a:p>
            <a:pPr algn="ctr"/>
            <a:endParaRPr lang="en-GB" sz="1300" b="1" dirty="0">
              <a:solidFill>
                <a:schemeClr val="accent1"/>
              </a:solidFill>
              <a:cs typeface="Calibri"/>
            </a:endParaRPr>
          </a:p>
          <a:p>
            <a:pPr algn="ctr"/>
            <a:endParaRPr lang="en-GB" sz="1300" b="1" dirty="0">
              <a:solidFill>
                <a:schemeClr val="accent1"/>
              </a:solidFill>
              <a:cs typeface="Calibri"/>
            </a:endParaRPr>
          </a:p>
          <a:p>
            <a:pPr algn="ctr"/>
            <a:endParaRPr lang="en-GB" sz="1300" b="1" dirty="0">
              <a:solidFill>
                <a:schemeClr val="accent1"/>
              </a:solidFill>
              <a:cs typeface="Calibri"/>
            </a:endParaRPr>
          </a:p>
          <a:p>
            <a:pPr algn="ctr"/>
            <a:r>
              <a:rPr lang="en-GB" sz="1300" b="1" dirty="0">
                <a:solidFill>
                  <a:schemeClr val="accent1"/>
                </a:solidFill>
                <a:cs typeface="Calibri"/>
              </a:rPr>
              <a:t>A digital first NHS</a:t>
            </a:r>
            <a:endParaRPr lang="en-GB" sz="1300" dirty="0">
              <a:solidFill>
                <a:schemeClr val="accent1"/>
              </a:solidFill>
              <a:cs typeface="Calibri"/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1940361" y="1848940"/>
            <a:ext cx="1565734" cy="2338202"/>
          </a:xfrm>
          <a:prstGeom prst="roundRect">
            <a:avLst>
              <a:gd name="adj" fmla="val 8730"/>
            </a:avLst>
          </a:prstGeom>
          <a:solidFill>
            <a:srgbClr val="D9E7F4"/>
          </a:solidFill>
          <a:ln w="476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GB" sz="1300" b="1" dirty="0">
              <a:solidFill>
                <a:schemeClr val="accent1"/>
              </a:solidFill>
              <a:cs typeface="Calibri"/>
            </a:endParaRPr>
          </a:p>
          <a:p>
            <a:pPr algn="ctr"/>
            <a:endParaRPr lang="en-GB" sz="1300" b="1" dirty="0">
              <a:solidFill>
                <a:schemeClr val="accent1"/>
              </a:solidFill>
              <a:cs typeface="Calibri"/>
            </a:endParaRPr>
          </a:p>
          <a:p>
            <a:pPr algn="ctr"/>
            <a:endParaRPr lang="en-GB" sz="1300" b="1" dirty="0">
              <a:solidFill>
                <a:schemeClr val="accent1"/>
              </a:solidFill>
              <a:cs typeface="Calibri"/>
            </a:endParaRPr>
          </a:p>
          <a:p>
            <a:pPr algn="ctr"/>
            <a:endParaRPr lang="en-GB" sz="1300" b="1" dirty="0">
              <a:solidFill>
                <a:schemeClr val="accent1"/>
              </a:solidFill>
              <a:cs typeface="Calibri"/>
            </a:endParaRPr>
          </a:p>
          <a:p>
            <a:pPr algn="ctr"/>
            <a:endParaRPr lang="en-GB" sz="1300" b="1" dirty="0">
              <a:solidFill>
                <a:schemeClr val="accent1"/>
              </a:solidFill>
              <a:cs typeface="Calibri"/>
            </a:endParaRPr>
          </a:p>
          <a:p>
            <a:pPr algn="ctr"/>
            <a:r>
              <a:rPr lang="en-GB" sz="1300" b="1" dirty="0">
                <a:solidFill>
                  <a:schemeClr val="accent1"/>
                </a:solidFill>
                <a:cs typeface="Calibri"/>
              </a:rPr>
              <a:t>From command and control to empowerment and choice</a:t>
            </a:r>
          </a:p>
        </p:txBody>
      </p:sp>
      <p:sp>
        <p:nvSpPr>
          <p:cNvPr id="37" name="Rounded Rectangle 36"/>
          <p:cNvSpPr/>
          <p:nvPr/>
        </p:nvSpPr>
        <p:spPr>
          <a:xfrm>
            <a:off x="3635896" y="1848940"/>
            <a:ext cx="1565734" cy="2338202"/>
          </a:xfrm>
          <a:prstGeom prst="roundRect">
            <a:avLst>
              <a:gd name="adj" fmla="val 8730"/>
            </a:avLst>
          </a:prstGeom>
          <a:solidFill>
            <a:srgbClr val="D9E7F4"/>
          </a:solidFill>
          <a:ln w="476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300" b="1" dirty="0">
                <a:solidFill>
                  <a:schemeClr val="accent1"/>
                </a:solidFill>
              </a:rPr>
              <a:t>An integrated digital / physical strategy and service</a:t>
            </a:r>
          </a:p>
        </p:txBody>
      </p:sp>
      <p:sp>
        <p:nvSpPr>
          <p:cNvPr id="38" name="Rounded Rectangle 37"/>
          <p:cNvSpPr/>
          <p:nvPr/>
        </p:nvSpPr>
        <p:spPr>
          <a:xfrm>
            <a:off x="5333814" y="1848940"/>
            <a:ext cx="1565734" cy="2338202"/>
          </a:xfrm>
          <a:prstGeom prst="roundRect">
            <a:avLst>
              <a:gd name="adj" fmla="val 8730"/>
            </a:avLst>
          </a:prstGeom>
          <a:solidFill>
            <a:srgbClr val="D9E7F4"/>
          </a:solidFill>
          <a:ln w="476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300" b="1" dirty="0">
                <a:solidFill>
                  <a:schemeClr val="accent1"/>
                </a:solidFill>
              </a:rPr>
              <a:t>Agreed and meaningful evaluation /   success metrics</a:t>
            </a:r>
          </a:p>
        </p:txBody>
      </p:sp>
      <p:sp>
        <p:nvSpPr>
          <p:cNvPr id="39" name="Rounded Rectangle 38"/>
          <p:cNvSpPr/>
          <p:nvPr/>
        </p:nvSpPr>
        <p:spPr>
          <a:xfrm>
            <a:off x="7020272" y="1848940"/>
            <a:ext cx="1565734" cy="2338202"/>
          </a:xfrm>
          <a:prstGeom prst="roundRect">
            <a:avLst>
              <a:gd name="adj" fmla="val 8730"/>
            </a:avLst>
          </a:prstGeom>
          <a:solidFill>
            <a:srgbClr val="D9E7F4"/>
          </a:solidFill>
          <a:ln w="476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300" b="1" dirty="0">
                <a:solidFill>
                  <a:schemeClr val="accent1"/>
                </a:solidFill>
              </a:rPr>
              <a:t>A fit for purpose digital funding model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5714" y="1997317"/>
            <a:ext cx="1294849" cy="129614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4744" y="1997317"/>
            <a:ext cx="1379858" cy="137985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6230" y="1997317"/>
            <a:ext cx="1093995" cy="1095089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8329" y="1997317"/>
            <a:ext cx="1340867" cy="1340867"/>
          </a:xfrm>
          <a:prstGeom prst="rect">
            <a:avLst/>
          </a:prstGeom>
        </p:spPr>
      </p:pic>
      <p:pic>
        <p:nvPicPr>
          <p:cNvPr id="44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454" y="1997317"/>
            <a:ext cx="1221218" cy="1221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0708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02_NHSDigital_template_Plain_Blue_v1">
  <a:themeElements>
    <a:clrScheme name="01-NHS-DIGI-PALETTE-01">
      <a:dk1>
        <a:srgbClr val="0F0F0F"/>
      </a:dk1>
      <a:lt1>
        <a:srgbClr val="FFFFFF"/>
      </a:lt1>
      <a:dk2>
        <a:srgbClr val="033F85"/>
      </a:dk2>
      <a:lt2>
        <a:srgbClr val="F9F9F9"/>
      </a:lt2>
      <a:accent1>
        <a:srgbClr val="005EB8"/>
      </a:accent1>
      <a:accent2>
        <a:srgbClr val="84919C"/>
      </a:accent2>
      <a:accent3>
        <a:srgbClr val="003087"/>
      </a:accent3>
      <a:accent4>
        <a:srgbClr val="5EBCE8"/>
      </a:accent4>
      <a:accent5>
        <a:srgbClr val="CED1D5"/>
      </a:accent5>
      <a:accent6>
        <a:srgbClr val="424D58"/>
      </a:accent6>
      <a:hlink>
        <a:srgbClr val="003087"/>
      </a:hlink>
      <a:folHlink>
        <a:srgbClr val="7C2855"/>
      </a:folHlink>
    </a:clrScheme>
    <a:fontScheme name="Corporate 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0.xml><?xml version="1.0" encoding="utf-8"?>
<a:theme xmlns:a="http://schemas.openxmlformats.org/drawingml/2006/main" name="7_NHSDigital_template_Plain_Blue_v1">
  <a:themeElements>
    <a:clrScheme name="01-NHS-DIGI-PALETTE-01">
      <a:dk1>
        <a:srgbClr val="0F0F0F"/>
      </a:dk1>
      <a:lt1>
        <a:srgbClr val="FFFFFF"/>
      </a:lt1>
      <a:dk2>
        <a:srgbClr val="033F85"/>
      </a:dk2>
      <a:lt2>
        <a:srgbClr val="F9F9F9"/>
      </a:lt2>
      <a:accent1>
        <a:srgbClr val="005EB8"/>
      </a:accent1>
      <a:accent2>
        <a:srgbClr val="84919C"/>
      </a:accent2>
      <a:accent3>
        <a:srgbClr val="003087"/>
      </a:accent3>
      <a:accent4>
        <a:srgbClr val="5EBCE8"/>
      </a:accent4>
      <a:accent5>
        <a:srgbClr val="CED1D5"/>
      </a:accent5>
      <a:accent6>
        <a:srgbClr val="424D58"/>
      </a:accent6>
      <a:hlink>
        <a:srgbClr val="003087"/>
      </a:hlink>
      <a:folHlink>
        <a:srgbClr val="7C2855"/>
      </a:folHlink>
    </a:clrScheme>
    <a:fontScheme name="Corporate 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1.xml><?xml version="1.0" encoding="utf-8"?>
<a:theme xmlns:a="http://schemas.openxmlformats.org/drawingml/2006/main" name="8_NHSDigital_template_Plain_Blue_v1">
  <a:themeElements>
    <a:clrScheme name="01-NHS-DIGI-PALETTE-01">
      <a:dk1>
        <a:srgbClr val="0F0F0F"/>
      </a:dk1>
      <a:lt1>
        <a:srgbClr val="FFFFFF"/>
      </a:lt1>
      <a:dk2>
        <a:srgbClr val="033F85"/>
      </a:dk2>
      <a:lt2>
        <a:srgbClr val="F9F9F9"/>
      </a:lt2>
      <a:accent1>
        <a:srgbClr val="005EB8"/>
      </a:accent1>
      <a:accent2>
        <a:srgbClr val="84919C"/>
      </a:accent2>
      <a:accent3>
        <a:srgbClr val="003087"/>
      </a:accent3>
      <a:accent4>
        <a:srgbClr val="5EBCE8"/>
      </a:accent4>
      <a:accent5>
        <a:srgbClr val="CED1D5"/>
      </a:accent5>
      <a:accent6>
        <a:srgbClr val="424D58"/>
      </a:accent6>
      <a:hlink>
        <a:srgbClr val="003087"/>
      </a:hlink>
      <a:folHlink>
        <a:srgbClr val="7C2855"/>
      </a:folHlink>
    </a:clrScheme>
    <a:fontScheme name="Corporate 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2.xml><?xml version="1.0" encoding="utf-8"?>
<a:theme xmlns:a="http://schemas.openxmlformats.org/drawingml/2006/main" name="9_NHSDigital_template_Plain_Blue_v1">
  <a:themeElements>
    <a:clrScheme name="01-NHS-DIGI-PALETTE-01">
      <a:dk1>
        <a:srgbClr val="0F0F0F"/>
      </a:dk1>
      <a:lt1>
        <a:srgbClr val="FFFFFF"/>
      </a:lt1>
      <a:dk2>
        <a:srgbClr val="033F85"/>
      </a:dk2>
      <a:lt2>
        <a:srgbClr val="F9F9F9"/>
      </a:lt2>
      <a:accent1>
        <a:srgbClr val="005EB8"/>
      </a:accent1>
      <a:accent2>
        <a:srgbClr val="84919C"/>
      </a:accent2>
      <a:accent3>
        <a:srgbClr val="003087"/>
      </a:accent3>
      <a:accent4>
        <a:srgbClr val="5EBCE8"/>
      </a:accent4>
      <a:accent5>
        <a:srgbClr val="CED1D5"/>
      </a:accent5>
      <a:accent6>
        <a:srgbClr val="424D58"/>
      </a:accent6>
      <a:hlink>
        <a:srgbClr val="003087"/>
      </a:hlink>
      <a:folHlink>
        <a:srgbClr val="7C2855"/>
      </a:folHlink>
    </a:clrScheme>
    <a:fontScheme name="Corporate 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3.xml><?xml version="1.0" encoding="utf-8"?>
<a:theme xmlns:a="http://schemas.openxmlformats.org/drawingml/2006/main" name="HSCIC_Powepoint_v2.5_0115">
  <a:themeElements>
    <a:clrScheme name="01-NHS-DIGI-PALETTE-01">
      <a:dk1>
        <a:srgbClr val="0F0F0F"/>
      </a:dk1>
      <a:lt1>
        <a:srgbClr val="FFFFFF"/>
      </a:lt1>
      <a:dk2>
        <a:srgbClr val="033F85"/>
      </a:dk2>
      <a:lt2>
        <a:srgbClr val="F9F9F9"/>
      </a:lt2>
      <a:accent1>
        <a:srgbClr val="005EB8"/>
      </a:accent1>
      <a:accent2>
        <a:srgbClr val="84919C"/>
      </a:accent2>
      <a:accent3>
        <a:srgbClr val="003087"/>
      </a:accent3>
      <a:accent4>
        <a:srgbClr val="5EBCE8"/>
      </a:accent4>
      <a:accent5>
        <a:srgbClr val="CED1D5"/>
      </a:accent5>
      <a:accent6>
        <a:srgbClr val="424D58"/>
      </a:accent6>
      <a:hlink>
        <a:srgbClr val="003087"/>
      </a:hlink>
      <a:folHlink>
        <a:srgbClr val="7C2855"/>
      </a:folHlink>
    </a:clrScheme>
    <a:fontScheme name="Corporate 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05_NHSDigital_template_Image_Blue_v1 [Read-Only]" id="{4D6ABB88-C025-4840-A8AC-0D02CEDFAD3C}" vid="{C4A0732F-471E-4CB8-9DE5-251883817BCF}"/>
    </a:ext>
  </a:extLst>
</a:theme>
</file>

<file path=ppt/theme/theme14.xml><?xml version="1.0" encoding="utf-8"?>
<a:theme xmlns:a="http://schemas.openxmlformats.org/drawingml/2006/main" name="2_NHSDigital_template_Plain_Grey_v1">
  <a:themeElements>
    <a:clrScheme name="01-NHS-DIGI-PALETTE-01">
      <a:dk1>
        <a:srgbClr val="0F0F0F"/>
      </a:dk1>
      <a:lt1>
        <a:srgbClr val="FFFFFF"/>
      </a:lt1>
      <a:dk2>
        <a:srgbClr val="033F85"/>
      </a:dk2>
      <a:lt2>
        <a:srgbClr val="F9F9F9"/>
      </a:lt2>
      <a:accent1>
        <a:srgbClr val="005EB8"/>
      </a:accent1>
      <a:accent2>
        <a:srgbClr val="84919C"/>
      </a:accent2>
      <a:accent3>
        <a:srgbClr val="003087"/>
      </a:accent3>
      <a:accent4>
        <a:srgbClr val="5EBCE8"/>
      </a:accent4>
      <a:accent5>
        <a:srgbClr val="CED1D5"/>
      </a:accent5>
      <a:accent6>
        <a:srgbClr val="424D58"/>
      </a:accent6>
      <a:hlink>
        <a:srgbClr val="003087"/>
      </a:hlink>
      <a:folHlink>
        <a:srgbClr val="7C2855"/>
      </a:folHlink>
    </a:clrScheme>
    <a:fontScheme name="Corporate 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5.xml><?xml version="1.0" encoding="utf-8"?>
<a:theme xmlns:a="http://schemas.openxmlformats.org/drawingml/2006/main" name="3_NHSDigital_template_Plain_Grey_v1">
  <a:themeElements>
    <a:clrScheme name="01-NHS-DIGI-PALETTE-01">
      <a:dk1>
        <a:srgbClr val="0F0F0F"/>
      </a:dk1>
      <a:lt1>
        <a:srgbClr val="FFFFFF"/>
      </a:lt1>
      <a:dk2>
        <a:srgbClr val="033F85"/>
      </a:dk2>
      <a:lt2>
        <a:srgbClr val="F9F9F9"/>
      </a:lt2>
      <a:accent1>
        <a:srgbClr val="005EB8"/>
      </a:accent1>
      <a:accent2>
        <a:srgbClr val="84919C"/>
      </a:accent2>
      <a:accent3>
        <a:srgbClr val="003087"/>
      </a:accent3>
      <a:accent4>
        <a:srgbClr val="5EBCE8"/>
      </a:accent4>
      <a:accent5>
        <a:srgbClr val="CED1D5"/>
      </a:accent5>
      <a:accent6>
        <a:srgbClr val="424D58"/>
      </a:accent6>
      <a:hlink>
        <a:srgbClr val="003087"/>
      </a:hlink>
      <a:folHlink>
        <a:srgbClr val="7C2855"/>
      </a:folHlink>
    </a:clrScheme>
    <a:fontScheme name="Corporate 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6.xml><?xml version="1.0" encoding="utf-8"?>
<a:theme xmlns:a="http://schemas.openxmlformats.org/drawingml/2006/main" name="10_NHSDigital_template_Plain_Blue_v1">
  <a:themeElements>
    <a:clrScheme name="01-NHS-DIGI-PALETTE-01">
      <a:dk1>
        <a:srgbClr val="0F0F0F"/>
      </a:dk1>
      <a:lt1>
        <a:srgbClr val="FFFFFF"/>
      </a:lt1>
      <a:dk2>
        <a:srgbClr val="033F85"/>
      </a:dk2>
      <a:lt2>
        <a:srgbClr val="F9F9F9"/>
      </a:lt2>
      <a:accent1>
        <a:srgbClr val="005EB8"/>
      </a:accent1>
      <a:accent2>
        <a:srgbClr val="84919C"/>
      </a:accent2>
      <a:accent3>
        <a:srgbClr val="003087"/>
      </a:accent3>
      <a:accent4>
        <a:srgbClr val="5EBCE8"/>
      </a:accent4>
      <a:accent5>
        <a:srgbClr val="CED1D5"/>
      </a:accent5>
      <a:accent6>
        <a:srgbClr val="424D58"/>
      </a:accent6>
      <a:hlink>
        <a:srgbClr val="003087"/>
      </a:hlink>
      <a:folHlink>
        <a:srgbClr val="7C2855"/>
      </a:folHlink>
    </a:clrScheme>
    <a:fontScheme name="Corporate 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03_NHSDigital_template_Image_Pink_v1">
  <a:themeElements>
    <a:clrScheme name="01-NHS-DIGI-PALETTE-01">
      <a:dk1>
        <a:srgbClr val="0F0F0F"/>
      </a:dk1>
      <a:lt1>
        <a:srgbClr val="FFFFFF"/>
      </a:lt1>
      <a:dk2>
        <a:srgbClr val="033F85"/>
      </a:dk2>
      <a:lt2>
        <a:srgbClr val="F9F9F9"/>
      </a:lt2>
      <a:accent1>
        <a:srgbClr val="005EB8"/>
      </a:accent1>
      <a:accent2>
        <a:srgbClr val="84919C"/>
      </a:accent2>
      <a:accent3>
        <a:srgbClr val="003087"/>
      </a:accent3>
      <a:accent4>
        <a:srgbClr val="5EBCE8"/>
      </a:accent4>
      <a:accent5>
        <a:srgbClr val="CED1D5"/>
      </a:accent5>
      <a:accent6>
        <a:srgbClr val="424D58"/>
      </a:accent6>
      <a:hlink>
        <a:srgbClr val="003087"/>
      </a:hlink>
      <a:folHlink>
        <a:srgbClr val="7C2855"/>
      </a:folHlink>
    </a:clrScheme>
    <a:fontScheme name="Corporate 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HSCIC_Powepoint_v2.5_0115">
  <a:themeElements>
    <a:clrScheme name="01-NHS-DIGI-PALETTE-01">
      <a:dk1>
        <a:srgbClr val="0F0F0F"/>
      </a:dk1>
      <a:lt1>
        <a:srgbClr val="FFFFFF"/>
      </a:lt1>
      <a:dk2>
        <a:srgbClr val="033F85"/>
      </a:dk2>
      <a:lt2>
        <a:srgbClr val="F9F9F9"/>
      </a:lt2>
      <a:accent1>
        <a:srgbClr val="005EB8"/>
      </a:accent1>
      <a:accent2>
        <a:srgbClr val="84919C"/>
      </a:accent2>
      <a:accent3>
        <a:srgbClr val="003087"/>
      </a:accent3>
      <a:accent4>
        <a:srgbClr val="5EBCE8"/>
      </a:accent4>
      <a:accent5>
        <a:srgbClr val="CED1D5"/>
      </a:accent5>
      <a:accent6>
        <a:srgbClr val="424D58"/>
      </a:accent6>
      <a:hlink>
        <a:srgbClr val="003087"/>
      </a:hlink>
      <a:folHlink>
        <a:srgbClr val="7C2855"/>
      </a:folHlink>
    </a:clrScheme>
    <a:fontScheme name="Corporate 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3_NHSDigital_template_Plain_Blue_v1">
  <a:themeElements>
    <a:clrScheme name="01-NHS-DIGI-PALETTE-01">
      <a:dk1>
        <a:srgbClr val="0F0F0F"/>
      </a:dk1>
      <a:lt1>
        <a:srgbClr val="FFFFFF"/>
      </a:lt1>
      <a:dk2>
        <a:srgbClr val="033F85"/>
      </a:dk2>
      <a:lt2>
        <a:srgbClr val="F9F9F9"/>
      </a:lt2>
      <a:accent1>
        <a:srgbClr val="005EB8"/>
      </a:accent1>
      <a:accent2>
        <a:srgbClr val="84919C"/>
      </a:accent2>
      <a:accent3>
        <a:srgbClr val="003087"/>
      </a:accent3>
      <a:accent4>
        <a:srgbClr val="5EBCE8"/>
      </a:accent4>
      <a:accent5>
        <a:srgbClr val="CED1D5"/>
      </a:accent5>
      <a:accent6>
        <a:srgbClr val="424D58"/>
      </a:accent6>
      <a:hlink>
        <a:srgbClr val="003087"/>
      </a:hlink>
      <a:folHlink>
        <a:srgbClr val="7C2855"/>
      </a:folHlink>
    </a:clrScheme>
    <a:fontScheme name="Corporate 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4_NHSDigital_template_Plain_Blue_v1">
  <a:themeElements>
    <a:clrScheme name="01-NHS-DIGI-PALETTE-01">
      <a:dk1>
        <a:srgbClr val="0F0F0F"/>
      </a:dk1>
      <a:lt1>
        <a:srgbClr val="FFFFFF"/>
      </a:lt1>
      <a:dk2>
        <a:srgbClr val="033F85"/>
      </a:dk2>
      <a:lt2>
        <a:srgbClr val="F9F9F9"/>
      </a:lt2>
      <a:accent1>
        <a:srgbClr val="005EB8"/>
      </a:accent1>
      <a:accent2>
        <a:srgbClr val="84919C"/>
      </a:accent2>
      <a:accent3>
        <a:srgbClr val="003087"/>
      </a:accent3>
      <a:accent4>
        <a:srgbClr val="5EBCE8"/>
      </a:accent4>
      <a:accent5>
        <a:srgbClr val="CED1D5"/>
      </a:accent5>
      <a:accent6>
        <a:srgbClr val="424D58"/>
      </a:accent6>
      <a:hlink>
        <a:srgbClr val="003087"/>
      </a:hlink>
      <a:folHlink>
        <a:srgbClr val="7C2855"/>
      </a:folHlink>
    </a:clrScheme>
    <a:fontScheme name="Corporate 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01_NHSDigital_template_Plain_Grey_v1">
  <a:themeElements>
    <a:clrScheme name="01-NHS-DIGI-PALETTE-01">
      <a:dk1>
        <a:srgbClr val="0F0F0F"/>
      </a:dk1>
      <a:lt1>
        <a:srgbClr val="FFFFFF"/>
      </a:lt1>
      <a:dk2>
        <a:srgbClr val="033F85"/>
      </a:dk2>
      <a:lt2>
        <a:srgbClr val="F9F9F9"/>
      </a:lt2>
      <a:accent1>
        <a:srgbClr val="005EB8"/>
      </a:accent1>
      <a:accent2>
        <a:srgbClr val="84919C"/>
      </a:accent2>
      <a:accent3>
        <a:srgbClr val="003087"/>
      </a:accent3>
      <a:accent4>
        <a:srgbClr val="5EBCE8"/>
      </a:accent4>
      <a:accent5>
        <a:srgbClr val="CED1D5"/>
      </a:accent5>
      <a:accent6>
        <a:srgbClr val="424D58"/>
      </a:accent6>
      <a:hlink>
        <a:srgbClr val="003087"/>
      </a:hlink>
      <a:folHlink>
        <a:srgbClr val="7C2855"/>
      </a:folHlink>
    </a:clrScheme>
    <a:fontScheme name="Corporate 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7.xml><?xml version="1.0" encoding="utf-8"?>
<a:theme xmlns:a="http://schemas.openxmlformats.org/drawingml/2006/main" name="5_NHSDigital_template_Plain_Blue_v1">
  <a:themeElements>
    <a:clrScheme name="01-NHS-DIGI-PALETTE-01">
      <a:dk1>
        <a:srgbClr val="0F0F0F"/>
      </a:dk1>
      <a:lt1>
        <a:srgbClr val="FFFFFF"/>
      </a:lt1>
      <a:dk2>
        <a:srgbClr val="033F85"/>
      </a:dk2>
      <a:lt2>
        <a:srgbClr val="F9F9F9"/>
      </a:lt2>
      <a:accent1>
        <a:srgbClr val="005EB8"/>
      </a:accent1>
      <a:accent2>
        <a:srgbClr val="84919C"/>
      </a:accent2>
      <a:accent3>
        <a:srgbClr val="003087"/>
      </a:accent3>
      <a:accent4>
        <a:srgbClr val="5EBCE8"/>
      </a:accent4>
      <a:accent5>
        <a:srgbClr val="CED1D5"/>
      </a:accent5>
      <a:accent6>
        <a:srgbClr val="424D58"/>
      </a:accent6>
      <a:hlink>
        <a:srgbClr val="003087"/>
      </a:hlink>
      <a:folHlink>
        <a:srgbClr val="7C2855"/>
      </a:folHlink>
    </a:clrScheme>
    <a:fontScheme name="Corporate 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8.xml><?xml version="1.0" encoding="utf-8"?>
<a:theme xmlns:a="http://schemas.openxmlformats.org/drawingml/2006/main" name="NHS_England_Nov15">
  <a:themeElements>
    <a:clrScheme name="NHS England 2014 v2">
      <a:dk1>
        <a:srgbClr val="000000"/>
      </a:dk1>
      <a:lt1>
        <a:srgbClr val="FFFFFF"/>
      </a:lt1>
      <a:dk2>
        <a:srgbClr val="0072C6"/>
      </a:dk2>
      <a:lt2>
        <a:srgbClr val="808080"/>
      </a:lt2>
      <a:accent1>
        <a:srgbClr val="E2E2E2"/>
      </a:accent1>
      <a:accent2>
        <a:srgbClr val="C5DCDF"/>
      </a:accent2>
      <a:accent3>
        <a:srgbClr val="FFFFFF"/>
      </a:accent3>
      <a:accent4>
        <a:srgbClr val="0072C6"/>
      </a:accent4>
      <a:accent5>
        <a:srgbClr val="003893"/>
      </a:accent5>
      <a:accent6>
        <a:srgbClr val="B2C7CA"/>
      </a:accent6>
      <a:hlink>
        <a:srgbClr val="0072C6"/>
      </a:hlink>
      <a:folHlink>
        <a:srgbClr val="9CBDC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400" b="0" i="0" u="none" strike="noStrike" cap="none" normalizeH="0" baseline="0" dirty="0" err="1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6_NHSDigital_template_Plain_Blue_v1">
  <a:themeElements>
    <a:clrScheme name="01-NHS-DIGI-PALETTE-01">
      <a:dk1>
        <a:srgbClr val="0F0F0F"/>
      </a:dk1>
      <a:lt1>
        <a:srgbClr val="FFFFFF"/>
      </a:lt1>
      <a:dk2>
        <a:srgbClr val="033F85"/>
      </a:dk2>
      <a:lt2>
        <a:srgbClr val="F9F9F9"/>
      </a:lt2>
      <a:accent1>
        <a:srgbClr val="005EB8"/>
      </a:accent1>
      <a:accent2>
        <a:srgbClr val="84919C"/>
      </a:accent2>
      <a:accent3>
        <a:srgbClr val="003087"/>
      </a:accent3>
      <a:accent4>
        <a:srgbClr val="5EBCE8"/>
      </a:accent4>
      <a:accent5>
        <a:srgbClr val="CED1D5"/>
      </a:accent5>
      <a:accent6>
        <a:srgbClr val="424D58"/>
      </a:accent6>
      <a:hlink>
        <a:srgbClr val="003087"/>
      </a:hlink>
      <a:folHlink>
        <a:srgbClr val="7C2855"/>
      </a:folHlink>
    </a:clrScheme>
    <a:fontScheme name="Corporate 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02_NHSDigital_template_Plain_Blue_v1</Template>
  <TotalTime>19512</TotalTime>
  <Words>1255</Words>
  <Application>Microsoft Office PowerPoint</Application>
  <PresentationFormat>On-screen Show (16:9)</PresentationFormat>
  <Paragraphs>318</Paragraphs>
  <Slides>37</Slides>
  <Notes>36</Notes>
  <HiddenSlides>0</HiddenSlides>
  <MMClips>1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62" baseType="lpstr">
      <vt:lpstr>Arial</vt:lpstr>
      <vt:lpstr>Calibri</vt:lpstr>
      <vt:lpstr>Courier New</vt:lpstr>
      <vt:lpstr>Helvetica Neue</vt:lpstr>
      <vt:lpstr>Noto Sans Symbols</vt:lpstr>
      <vt:lpstr>Open Sans</vt:lpstr>
      <vt:lpstr>Trebuchet MS</vt:lpstr>
      <vt:lpstr>Wingdings</vt:lpstr>
      <vt:lpstr>02_NHSDigital_template_Plain_Blue_v1</vt:lpstr>
      <vt:lpstr>03_NHSDigital_template_Image_Pink_v1</vt:lpstr>
      <vt:lpstr>1_HSCIC_Powepoint_v2.5_0115</vt:lpstr>
      <vt:lpstr>3_NHSDigital_template_Plain_Blue_v1</vt:lpstr>
      <vt:lpstr>4_NHSDigital_template_Plain_Blue_v1</vt:lpstr>
      <vt:lpstr>01_NHSDigital_template_Plain_Grey_v1</vt:lpstr>
      <vt:lpstr>5_NHSDigital_template_Plain_Blue_v1</vt:lpstr>
      <vt:lpstr>NHS_England_Nov15</vt:lpstr>
      <vt:lpstr>6_NHSDigital_template_Plain_Blue_v1</vt:lpstr>
      <vt:lpstr>7_NHSDigital_template_Plain_Blue_v1</vt:lpstr>
      <vt:lpstr>8_NHSDigital_template_Plain_Blue_v1</vt:lpstr>
      <vt:lpstr>9_NHSDigital_template_Plain_Blue_v1</vt:lpstr>
      <vt:lpstr>HSCIC_Powepoint_v2.5_0115</vt:lpstr>
      <vt:lpstr>2_NHSDigital_template_Plain_Grey_v1</vt:lpstr>
      <vt:lpstr>3_NHSDigital_template_Plain_Grey_v1</vt:lpstr>
      <vt:lpstr>10_NHSDigital_template_Plain_Blue_v1</vt:lpstr>
      <vt:lpstr>think-cell Slide</vt:lpstr>
      <vt:lpstr>Building a digital NHS:  Which empowers people to manage their health and care  Welcome and introduction Jon Hoeksma, CEO  Digital Health Network </vt:lpstr>
      <vt:lpstr>PowerPoint Presentation</vt:lpstr>
      <vt:lpstr>PowerPoint Presentation</vt:lpstr>
      <vt:lpstr>The challenge</vt:lpstr>
      <vt:lpstr>PowerPoint Presentation</vt:lpstr>
      <vt:lpstr>Digital transformation</vt:lpstr>
      <vt:lpstr>Empowering people – A growing family</vt:lpstr>
      <vt:lpstr>Integrating services into the NHS App</vt:lpstr>
      <vt:lpstr>Empower the Person priorities </vt:lpstr>
      <vt:lpstr>We are getting the foundations right</vt:lpstr>
      <vt:lpstr>PowerPoint Presentation</vt:lpstr>
      <vt:lpstr>PowerPoint Presentation</vt:lpstr>
      <vt:lpstr>PowerPoint Presentation</vt:lpstr>
      <vt:lpstr>Creating Better Experiences: Service Pattern</vt:lpstr>
      <vt:lpstr>Integrating services into the NHS App</vt:lpstr>
      <vt:lpstr>PowerPoint Presentation</vt:lpstr>
      <vt:lpstr>PowerPoint Presentation</vt:lpstr>
      <vt:lpstr>PowerPoint Presentation</vt:lpstr>
      <vt:lpstr>API usage</vt:lpstr>
      <vt:lpstr>Feedback </vt:lpstr>
      <vt:lpstr>NHS website – what it means for you</vt:lpstr>
      <vt:lpstr>PowerPoint Presentation</vt:lpstr>
      <vt:lpstr>NHS App private beta features</vt:lpstr>
      <vt:lpstr>Integrating services into the NHS App</vt:lpstr>
      <vt:lpstr>PowerPoint Presentation</vt:lpstr>
      <vt:lpstr>It’s time to engage</vt:lpstr>
      <vt:lpstr>We need to recreate this level of security, privacy and safety, online </vt:lpstr>
      <vt:lpstr>What are we delivering?</vt:lpstr>
      <vt:lpstr>Delivery Scope</vt:lpstr>
      <vt:lpstr>Key concepts</vt:lpstr>
      <vt:lpstr>New prototype video</vt:lpstr>
      <vt:lpstr>Integrating services into the NHS App</vt:lpstr>
      <vt:lpstr>PowerPoint Presentation</vt:lpstr>
      <vt:lpstr>Integrating services into the NHS App</vt:lpstr>
      <vt:lpstr>What’s next?</vt:lpstr>
      <vt:lpstr>Getting it right</vt:lpstr>
      <vt:lpstr>Keep in touch with u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pland, David</dc:creator>
  <cp:lastModifiedBy>Georgia Mills</cp:lastModifiedBy>
  <cp:revision>597</cp:revision>
  <cp:lastPrinted>2018-06-15T11:07:57Z</cp:lastPrinted>
  <dcterms:created xsi:type="dcterms:W3CDTF">2017-01-06T10:42:05Z</dcterms:created>
  <dcterms:modified xsi:type="dcterms:W3CDTF">2018-06-15T15:14:01Z</dcterms:modified>
</cp:coreProperties>
</file>